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sldIdLst>
    <p:sldId id="256" r:id="rId5"/>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D4D389-392F-41C3-B36B-6F86F16A1CC2}" v="2" dt="2023-07-31T00:58:26.4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6327" autoAdjust="0"/>
  </p:normalViewPr>
  <p:slideViewPr>
    <p:cSldViewPr snapToGrid="0">
      <p:cViewPr>
        <p:scale>
          <a:sx n="100" d="100"/>
          <a:sy n="100" d="100"/>
        </p:scale>
        <p:origin x="3566" y="50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2253346E-3201-4093-AE28-0E65F03589B7}"/>
    <pc:docChg chg="undo custSel delSld modSld modMainMaster replTag">
      <pc:chgData name="Alannah Tran" userId="ca071bd6-a585-4695-914d-bc8a7ace8862" providerId="ADAL" clId="{2253346E-3201-4093-AE28-0E65F03589B7}" dt="2023-07-12T05:53:59.702" v="319" actId="12789"/>
      <pc:docMkLst>
        <pc:docMk/>
      </pc:docMkLst>
      <pc:sldChg chg="addSp delSp modSp mod">
        <pc:chgData name="Alannah Tran" userId="ca071bd6-a585-4695-914d-bc8a7ace8862" providerId="ADAL" clId="{2253346E-3201-4093-AE28-0E65F03589B7}" dt="2023-07-12T05:53:59.702" v="319" actId="12789"/>
        <pc:sldMkLst>
          <pc:docMk/>
          <pc:sldMk cId="179364010" sldId="256"/>
        </pc:sldMkLst>
        <pc:spChg chg="add del mod">
          <ac:chgData name="Alannah Tran" userId="ca071bd6-a585-4695-914d-bc8a7ace8862" providerId="ADAL" clId="{2253346E-3201-4093-AE28-0E65F03589B7}" dt="2023-07-12T05:37:08.531" v="117" actId="478"/>
          <ac:spMkLst>
            <pc:docMk/>
            <pc:sldMk cId="179364010" sldId="256"/>
            <ac:spMk id="3" creationId="{A70C3DD2-9C76-5F38-8168-CE152FA77F66}"/>
          </ac:spMkLst>
        </pc:spChg>
        <pc:spChg chg="add del mod modVis">
          <ac:chgData name="Alannah Tran" userId="ca071bd6-a585-4695-914d-bc8a7ace8862" providerId="ADAL" clId="{2253346E-3201-4093-AE28-0E65F03589B7}" dt="2023-07-12T05:37:05.258" v="82"/>
          <ac:spMkLst>
            <pc:docMk/>
            <pc:sldMk cId="179364010" sldId="256"/>
            <ac:spMk id="4" creationId="{D0B422B1-29F9-D28C-9D10-16791800E2BD}"/>
          </ac:spMkLst>
        </pc:spChg>
        <pc:spChg chg="mod">
          <ac:chgData name="Alannah Tran" userId="ca071bd6-a585-4695-914d-bc8a7ace8862" providerId="ADAL" clId="{2253346E-3201-4093-AE28-0E65F03589B7}" dt="2023-07-12T05:37:05.207" v="3" actId="948"/>
          <ac:spMkLst>
            <pc:docMk/>
            <pc:sldMk cId="179364010" sldId="256"/>
            <ac:spMk id="5" creationId="{2C23A05B-338A-E882-D37C-C09A4BEA8CED}"/>
          </ac:spMkLst>
        </pc:spChg>
        <pc:spChg chg="del">
          <ac:chgData name="Alannah Tran" userId="ca071bd6-a585-4695-914d-bc8a7ace8862" providerId="ADAL" clId="{2253346E-3201-4093-AE28-0E65F03589B7}" dt="2023-07-12T05:36:56.137" v="1" actId="478"/>
          <ac:spMkLst>
            <pc:docMk/>
            <pc:sldMk cId="179364010" sldId="256"/>
            <ac:spMk id="6" creationId="{C5FA7185-5FBC-3289-CEC1-9814CF2D1570}"/>
          </ac:spMkLst>
        </pc:spChg>
        <pc:spChg chg="del">
          <ac:chgData name="Alannah Tran" userId="ca071bd6-a585-4695-914d-bc8a7ace8862" providerId="ADAL" clId="{2253346E-3201-4093-AE28-0E65F03589B7}" dt="2023-07-12T05:36:56.137" v="1" actId="478"/>
          <ac:spMkLst>
            <pc:docMk/>
            <pc:sldMk cId="179364010" sldId="256"/>
            <ac:spMk id="7" creationId="{3A11EAF0-943D-99A6-95BB-16C4C15868C1}"/>
          </ac:spMkLst>
        </pc:spChg>
        <pc:spChg chg="del">
          <ac:chgData name="Alannah Tran" userId="ca071bd6-a585-4695-914d-bc8a7ace8862" providerId="ADAL" clId="{2253346E-3201-4093-AE28-0E65F03589B7}" dt="2023-07-12T05:36:56.137" v="1" actId="478"/>
          <ac:spMkLst>
            <pc:docMk/>
            <pc:sldMk cId="179364010" sldId="256"/>
            <ac:spMk id="8" creationId="{7B255B00-195B-EEFC-8E3F-B4058CE1B966}"/>
          </ac:spMkLst>
        </pc:spChg>
        <pc:spChg chg="add mod topLvl">
          <ac:chgData name="Alannah Tran" userId="ca071bd6-a585-4695-914d-bc8a7ace8862" providerId="ADAL" clId="{2253346E-3201-4093-AE28-0E65F03589B7}" dt="2023-07-12T05:40:39.737" v="151" actId="14100"/>
          <ac:spMkLst>
            <pc:docMk/>
            <pc:sldMk cId="179364010" sldId="256"/>
            <ac:spMk id="14" creationId="{0AB70826-684E-D526-D17E-3327365C41AD}"/>
          </ac:spMkLst>
        </pc:spChg>
        <pc:spChg chg="add mod topLvl">
          <ac:chgData name="Alannah Tran" userId="ca071bd6-a585-4695-914d-bc8a7ace8862" providerId="ADAL" clId="{2253346E-3201-4093-AE28-0E65F03589B7}" dt="2023-07-12T05:41:00.254" v="154" actId="207"/>
          <ac:spMkLst>
            <pc:docMk/>
            <pc:sldMk cId="179364010" sldId="256"/>
            <ac:spMk id="15" creationId="{241CCAD2-207C-741D-647B-D06B0BC0B52A}"/>
          </ac:spMkLst>
        </pc:spChg>
        <pc:spChg chg="add mod topLvl">
          <ac:chgData name="Alannah Tran" userId="ca071bd6-a585-4695-914d-bc8a7ace8862" providerId="ADAL" clId="{2253346E-3201-4093-AE28-0E65F03589B7}" dt="2023-07-12T05:47:56.077" v="252" actId="12788"/>
          <ac:spMkLst>
            <pc:docMk/>
            <pc:sldMk cId="179364010" sldId="256"/>
            <ac:spMk id="16" creationId="{B2977005-1BE7-7B3D-7667-B92467E56C8E}"/>
          </ac:spMkLst>
        </pc:spChg>
        <pc:spChg chg="add mod topLvl">
          <ac:chgData name="Alannah Tran" userId="ca071bd6-a585-4695-914d-bc8a7ace8862" providerId="ADAL" clId="{2253346E-3201-4093-AE28-0E65F03589B7}" dt="2023-07-12T05:51:16.417" v="306" actId="12788"/>
          <ac:spMkLst>
            <pc:docMk/>
            <pc:sldMk cId="179364010" sldId="256"/>
            <ac:spMk id="17" creationId="{5BAEC132-4558-26D6-1A55-F1F4A2F928AE}"/>
          </ac:spMkLst>
        </pc:spChg>
        <pc:spChg chg="add mod topLvl">
          <ac:chgData name="Alannah Tran" userId="ca071bd6-a585-4695-914d-bc8a7ace8862" providerId="ADAL" clId="{2253346E-3201-4093-AE28-0E65F03589B7}" dt="2023-07-12T05:41:00.254" v="154" actId="207"/>
          <ac:spMkLst>
            <pc:docMk/>
            <pc:sldMk cId="179364010" sldId="256"/>
            <ac:spMk id="18" creationId="{F3017E4B-D2FF-3FE4-131D-F08C7875C7F2}"/>
          </ac:spMkLst>
        </pc:spChg>
        <pc:spChg chg="add mod topLvl">
          <ac:chgData name="Alannah Tran" userId="ca071bd6-a585-4695-914d-bc8a7ace8862" providerId="ADAL" clId="{2253346E-3201-4093-AE28-0E65F03589B7}" dt="2023-07-12T05:53:42.241" v="318" actId="113"/>
          <ac:spMkLst>
            <pc:docMk/>
            <pc:sldMk cId="179364010" sldId="256"/>
            <ac:spMk id="19" creationId="{D96DF908-49C2-8059-245F-97008C7234D0}"/>
          </ac:spMkLst>
        </pc:spChg>
        <pc:spChg chg="add mod topLvl">
          <ac:chgData name="Alannah Tran" userId="ca071bd6-a585-4695-914d-bc8a7ace8862" providerId="ADAL" clId="{2253346E-3201-4093-AE28-0E65F03589B7}" dt="2023-07-12T05:51:06.038" v="301" actId="12789"/>
          <ac:spMkLst>
            <pc:docMk/>
            <pc:sldMk cId="179364010" sldId="256"/>
            <ac:spMk id="24" creationId="{4A81A5ED-1417-05CC-F8D1-6359B7074602}"/>
          </ac:spMkLst>
        </pc:spChg>
        <pc:spChg chg="add mod topLvl">
          <ac:chgData name="Alannah Tran" userId="ca071bd6-a585-4695-914d-bc8a7ace8862" providerId="ADAL" clId="{2253346E-3201-4093-AE28-0E65F03589B7}" dt="2023-07-12T05:51:06.038" v="301" actId="12789"/>
          <ac:spMkLst>
            <pc:docMk/>
            <pc:sldMk cId="179364010" sldId="256"/>
            <ac:spMk id="25" creationId="{D28C34E9-8F83-767E-53F4-D73899295AAF}"/>
          </ac:spMkLst>
        </pc:spChg>
        <pc:spChg chg="add mod topLvl">
          <ac:chgData name="Alannah Tran" userId="ca071bd6-a585-4695-914d-bc8a7ace8862" providerId="ADAL" clId="{2253346E-3201-4093-AE28-0E65F03589B7}" dt="2023-07-12T05:51:16.417" v="306" actId="12788"/>
          <ac:spMkLst>
            <pc:docMk/>
            <pc:sldMk cId="179364010" sldId="256"/>
            <ac:spMk id="26" creationId="{6D611D00-71B4-098D-C875-C4F0FB3D18BC}"/>
          </ac:spMkLst>
        </pc:spChg>
        <pc:spChg chg="add mod topLvl">
          <ac:chgData name="Alannah Tran" userId="ca071bd6-a585-4695-914d-bc8a7ace8862" providerId="ADAL" clId="{2253346E-3201-4093-AE28-0E65F03589B7}" dt="2023-07-12T05:51:06.038" v="301" actId="12789"/>
          <ac:spMkLst>
            <pc:docMk/>
            <pc:sldMk cId="179364010" sldId="256"/>
            <ac:spMk id="27" creationId="{5D63ED65-99C4-66A7-1397-D76E3EB3F74A}"/>
          </ac:spMkLst>
        </pc:spChg>
        <pc:spChg chg="add mod topLvl">
          <ac:chgData name="Alannah Tran" userId="ca071bd6-a585-4695-914d-bc8a7ace8862" providerId="ADAL" clId="{2253346E-3201-4093-AE28-0E65F03589B7}" dt="2023-07-12T05:44:55.382" v="199" actId="14100"/>
          <ac:spMkLst>
            <pc:docMk/>
            <pc:sldMk cId="179364010" sldId="256"/>
            <ac:spMk id="28" creationId="{9AE9F312-3137-870B-940F-448721022572}"/>
          </ac:spMkLst>
        </pc:spChg>
        <pc:spChg chg="add mod topLvl">
          <ac:chgData name="Alannah Tran" userId="ca071bd6-a585-4695-914d-bc8a7ace8862" providerId="ADAL" clId="{2253346E-3201-4093-AE28-0E65F03589B7}" dt="2023-07-12T05:45:01.463" v="202" actId="6549"/>
          <ac:spMkLst>
            <pc:docMk/>
            <pc:sldMk cId="179364010" sldId="256"/>
            <ac:spMk id="29" creationId="{82506D0B-C0B9-0402-027B-98353B4249E2}"/>
          </ac:spMkLst>
        </pc:spChg>
        <pc:spChg chg="add mod topLvl">
          <ac:chgData name="Alannah Tran" userId="ca071bd6-a585-4695-914d-bc8a7ace8862" providerId="ADAL" clId="{2253346E-3201-4093-AE28-0E65F03589B7}" dt="2023-07-12T05:53:59.702" v="319" actId="12789"/>
          <ac:spMkLst>
            <pc:docMk/>
            <pc:sldMk cId="179364010" sldId="256"/>
            <ac:spMk id="30" creationId="{B30FE132-F1DA-351A-5458-732A246773C3}"/>
          </ac:spMkLst>
        </pc:spChg>
        <pc:spChg chg="add mod topLvl">
          <ac:chgData name="Alannah Tran" userId="ca071bd6-a585-4695-914d-bc8a7ace8862" providerId="ADAL" clId="{2253346E-3201-4093-AE28-0E65F03589B7}" dt="2023-07-12T05:53:59.702" v="319" actId="12789"/>
          <ac:spMkLst>
            <pc:docMk/>
            <pc:sldMk cId="179364010" sldId="256"/>
            <ac:spMk id="31" creationId="{09A0EDFC-9CF5-4C07-9966-C2FFD3E17D98}"/>
          </ac:spMkLst>
        </pc:spChg>
        <pc:spChg chg="add mod topLvl">
          <ac:chgData name="Alannah Tran" userId="ca071bd6-a585-4695-914d-bc8a7ace8862" providerId="ADAL" clId="{2253346E-3201-4093-AE28-0E65F03589B7}" dt="2023-07-12T05:50:09.483" v="287" actId="207"/>
          <ac:spMkLst>
            <pc:docMk/>
            <pc:sldMk cId="179364010" sldId="256"/>
            <ac:spMk id="35" creationId="{7B5D1158-9DF9-AED3-21D9-603406A63DA6}"/>
          </ac:spMkLst>
        </pc:spChg>
        <pc:spChg chg="add mod topLvl">
          <ac:chgData name="Alannah Tran" userId="ca071bd6-a585-4695-914d-bc8a7ace8862" providerId="ADAL" clId="{2253346E-3201-4093-AE28-0E65F03589B7}" dt="2023-07-12T05:53:42.241" v="318" actId="113"/>
          <ac:spMkLst>
            <pc:docMk/>
            <pc:sldMk cId="179364010" sldId="256"/>
            <ac:spMk id="37" creationId="{F4BC24EB-B70C-B62B-0436-224A304D5365}"/>
          </ac:spMkLst>
        </pc:spChg>
        <pc:spChg chg="add mod topLvl">
          <ac:chgData name="Alannah Tran" userId="ca071bd6-a585-4695-914d-bc8a7ace8862" providerId="ADAL" clId="{2253346E-3201-4093-AE28-0E65F03589B7}" dt="2023-07-12T05:53:42.241" v="318" actId="113"/>
          <ac:spMkLst>
            <pc:docMk/>
            <pc:sldMk cId="179364010" sldId="256"/>
            <ac:spMk id="45" creationId="{3F7BA027-D806-4CFC-417F-C4EFDAD51173}"/>
          </ac:spMkLst>
        </pc:spChg>
        <pc:spChg chg="add mod topLvl">
          <ac:chgData name="Alannah Tran" userId="ca071bd6-a585-4695-914d-bc8a7ace8862" providerId="ADAL" clId="{2253346E-3201-4093-AE28-0E65F03589B7}" dt="2023-07-12T05:53:42.241" v="318" actId="113"/>
          <ac:spMkLst>
            <pc:docMk/>
            <pc:sldMk cId="179364010" sldId="256"/>
            <ac:spMk id="46" creationId="{A3763581-0C86-67E5-716D-B4371FD9ACA8}"/>
          </ac:spMkLst>
        </pc:spChg>
        <pc:spChg chg="add mod topLvl">
          <ac:chgData name="Alannah Tran" userId="ca071bd6-a585-4695-914d-bc8a7ace8862" providerId="ADAL" clId="{2253346E-3201-4093-AE28-0E65F03589B7}" dt="2023-07-12T05:53:42.241" v="318" actId="113"/>
          <ac:spMkLst>
            <pc:docMk/>
            <pc:sldMk cId="179364010" sldId="256"/>
            <ac:spMk id="47" creationId="{2FF5F55C-EAA7-0437-EF90-58E111BC51CD}"/>
          </ac:spMkLst>
        </pc:spChg>
        <pc:spChg chg="add mod topLvl">
          <ac:chgData name="Alannah Tran" userId="ca071bd6-a585-4695-914d-bc8a7ace8862" providerId="ADAL" clId="{2253346E-3201-4093-AE28-0E65F03589B7}" dt="2023-07-12T05:50:09.483" v="287" actId="207"/>
          <ac:spMkLst>
            <pc:docMk/>
            <pc:sldMk cId="179364010" sldId="256"/>
            <ac:spMk id="48" creationId="{D201DC3F-EB40-8534-9DA0-71D81C47913D}"/>
          </ac:spMkLst>
        </pc:spChg>
        <pc:spChg chg="add mod topLvl">
          <ac:chgData name="Alannah Tran" userId="ca071bd6-a585-4695-914d-bc8a7ace8862" providerId="ADAL" clId="{2253346E-3201-4093-AE28-0E65F03589B7}" dt="2023-07-12T05:50:09.483" v="287" actId="207"/>
          <ac:spMkLst>
            <pc:docMk/>
            <pc:sldMk cId="179364010" sldId="256"/>
            <ac:spMk id="49" creationId="{83B089A5-577D-75F5-1B3C-AA46B6C2EF21}"/>
          </ac:spMkLst>
        </pc:spChg>
        <pc:spChg chg="add mod topLvl">
          <ac:chgData name="Alannah Tran" userId="ca071bd6-a585-4695-914d-bc8a7ace8862" providerId="ADAL" clId="{2253346E-3201-4093-AE28-0E65F03589B7}" dt="2023-07-12T05:47:02.016" v="237" actId="14100"/>
          <ac:spMkLst>
            <pc:docMk/>
            <pc:sldMk cId="179364010" sldId="256"/>
            <ac:spMk id="50" creationId="{465D6C71-797D-596D-9753-8216D05BAA55}"/>
          </ac:spMkLst>
        </pc:spChg>
        <pc:spChg chg="add mod topLvl">
          <ac:chgData name="Alannah Tran" userId="ca071bd6-a585-4695-914d-bc8a7ace8862" providerId="ADAL" clId="{2253346E-3201-4093-AE28-0E65F03589B7}" dt="2023-07-12T05:50:09.483" v="287" actId="207"/>
          <ac:spMkLst>
            <pc:docMk/>
            <pc:sldMk cId="179364010" sldId="256"/>
            <ac:spMk id="51" creationId="{A964FC7E-9DD6-0E8F-7BD9-77A63EEE3299}"/>
          </ac:spMkLst>
        </pc:spChg>
        <pc:spChg chg="add mod topLvl">
          <ac:chgData name="Alannah Tran" userId="ca071bd6-a585-4695-914d-bc8a7ace8862" providerId="ADAL" clId="{2253346E-3201-4093-AE28-0E65F03589B7}" dt="2023-07-12T05:44:55.382" v="199" actId="14100"/>
          <ac:spMkLst>
            <pc:docMk/>
            <pc:sldMk cId="179364010" sldId="256"/>
            <ac:spMk id="52" creationId="{6ECF7131-BB66-6B2B-6FED-08346B4C236F}"/>
          </ac:spMkLst>
        </pc:spChg>
        <pc:spChg chg="add mod topLvl">
          <ac:chgData name="Alannah Tran" userId="ca071bd6-a585-4695-914d-bc8a7ace8862" providerId="ADAL" clId="{2253346E-3201-4093-AE28-0E65F03589B7}" dt="2023-07-12T05:44:55.382" v="199" actId="14100"/>
          <ac:spMkLst>
            <pc:docMk/>
            <pc:sldMk cId="179364010" sldId="256"/>
            <ac:spMk id="53" creationId="{A7892FA3-3F9A-DFD3-8C0A-FEBCDD3BAB42}"/>
          </ac:spMkLst>
        </pc:spChg>
        <pc:spChg chg="add mod topLvl">
          <ac:chgData name="Alannah Tran" userId="ca071bd6-a585-4695-914d-bc8a7ace8862" providerId="ADAL" clId="{2253346E-3201-4093-AE28-0E65F03589B7}" dt="2023-07-12T05:44:55.382" v="199" actId="14100"/>
          <ac:spMkLst>
            <pc:docMk/>
            <pc:sldMk cId="179364010" sldId="256"/>
            <ac:spMk id="56" creationId="{01332FAB-E7EB-F5DB-775F-CE8CA2A9488E}"/>
          </ac:spMkLst>
        </pc:spChg>
        <pc:spChg chg="add mod topLvl">
          <ac:chgData name="Alannah Tran" userId="ca071bd6-a585-4695-914d-bc8a7ace8862" providerId="ADAL" clId="{2253346E-3201-4093-AE28-0E65F03589B7}" dt="2023-07-12T05:44:55.382" v="199" actId="14100"/>
          <ac:spMkLst>
            <pc:docMk/>
            <pc:sldMk cId="179364010" sldId="256"/>
            <ac:spMk id="57" creationId="{F1281A35-E41B-17CA-0EC2-66C4E58CA293}"/>
          </ac:spMkLst>
        </pc:spChg>
        <pc:spChg chg="add mod topLvl">
          <ac:chgData name="Alannah Tran" userId="ca071bd6-a585-4695-914d-bc8a7ace8862" providerId="ADAL" clId="{2253346E-3201-4093-AE28-0E65F03589B7}" dt="2023-07-12T05:51:50.430" v="308" actId="1076"/>
          <ac:spMkLst>
            <pc:docMk/>
            <pc:sldMk cId="179364010" sldId="256"/>
            <ac:spMk id="61" creationId="{BF7C128C-D0C5-E518-3211-5D64D899055A}"/>
          </ac:spMkLst>
        </pc:spChg>
        <pc:spChg chg="add mod topLvl">
          <ac:chgData name="Alannah Tran" userId="ca071bd6-a585-4695-914d-bc8a7ace8862" providerId="ADAL" clId="{2253346E-3201-4093-AE28-0E65F03589B7}" dt="2023-07-12T05:51:50.430" v="308" actId="1076"/>
          <ac:spMkLst>
            <pc:docMk/>
            <pc:sldMk cId="179364010" sldId="256"/>
            <ac:spMk id="62" creationId="{227D56EF-44FB-DE6D-B6F2-D0D97654600A}"/>
          </ac:spMkLst>
        </pc:spChg>
        <pc:spChg chg="add mod topLvl">
          <ac:chgData name="Alannah Tran" userId="ca071bd6-a585-4695-914d-bc8a7ace8862" providerId="ADAL" clId="{2253346E-3201-4093-AE28-0E65F03589B7}" dt="2023-07-12T05:53:09.903" v="313" actId="113"/>
          <ac:spMkLst>
            <pc:docMk/>
            <pc:sldMk cId="179364010" sldId="256"/>
            <ac:spMk id="77" creationId="{BF765302-5586-747D-8390-F7007EB4A9F4}"/>
          </ac:spMkLst>
        </pc:spChg>
        <pc:spChg chg="add mod topLvl">
          <ac:chgData name="Alannah Tran" userId="ca071bd6-a585-4695-914d-bc8a7ace8862" providerId="ADAL" clId="{2253346E-3201-4093-AE28-0E65F03589B7}" dt="2023-07-12T05:53:18.683" v="316" actId="113"/>
          <ac:spMkLst>
            <pc:docMk/>
            <pc:sldMk cId="179364010" sldId="256"/>
            <ac:spMk id="78" creationId="{7F4E7E4D-1538-3951-9AF6-CAD1D2A9FFB0}"/>
          </ac:spMkLst>
        </pc:spChg>
        <pc:grpChg chg="del">
          <ac:chgData name="Alannah Tran" userId="ca071bd6-a585-4695-914d-bc8a7ace8862" providerId="ADAL" clId="{2253346E-3201-4093-AE28-0E65F03589B7}" dt="2023-07-12T05:36:56.137" v="1" actId="478"/>
          <ac:grpSpMkLst>
            <pc:docMk/>
            <pc:sldMk cId="179364010" sldId="256"/>
            <ac:grpSpMk id="11" creationId="{800F6D8E-49E1-3C0D-E7CA-0F4FFF503A0C}"/>
          </ac:grpSpMkLst>
        </pc:grpChg>
        <pc:grpChg chg="add del mod">
          <ac:chgData name="Alannah Tran" userId="ca071bd6-a585-4695-914d-bc8a7ace8862" providerId="ADAL" clId="{2253346E-3201-4093-AE28-0E65F03589B7}" dt="2023-07-12T05:37:41.626" v="122"/>
          <ac:grpSpMkLst>
            <pc:docMk/>
            <pc:sldMk cId="179364010" sldId="256"/>
            <ac:grpSpMk id="79" creationId="{1B009C7C-E317-5E1E-BDA5-ABFDE58C862B}"/>
          </ac:grpSpMkLst>
        </pc:grpChg>
        <pc:graphicFrameChg chg="add mod ord modVis replST">
          <ac:chgData name="Alannah Tran" userId="ca071bd6-a585-4695-914d-bc8a7ace8862" providerId="ADAL" clId="{2253346E-3201-4093-AE28-0E65F03589B7}" dt="2023-07-12T05:37:05.296" v="98"/>
          <ac:graphicFrameMkLst>
            <pc:docMk/>
            <pc:sldMk cId="179364010" sldId="256"/>
            <ac:graphicFrameMk id="12" creationId="{08B1229B-F8AC-ABA2-B118-BCAF6C5809AF}"/>
          </ac:graphicFrameMkLst>
        </pc:graphicFrameChg>
        <pc:picChg chg="del">
          <ac:chgData name="Alannah Tran" userId="ca071bd6-a585-4695-914d-bc8a7ace8862" providerId="ADAL" clId="{2253346E-3201-4093-AE28-0E65F03589B7}" dt="2023-07-12T05:36:56.137" v="1" actId="478"/>
          <ac:picMkLst>
            <pc:docMk/>
            <pc:sldMk cId="179364010" sldId="256"/>
            <ac:picMk id="13" creationId="{16B546BA-A9F9-0E8E-A813-B443227997D1}"/>
          </ac:picMkLst>
        </pc:picChg>
        <pc:cxnChg chg="add mod topLvl">
          <ac:chgData name="Alannah Tran" userId="ca071bd6-a585-4695-914d-bc8a7ace8862" providerId="ADAL" clId="{2253346E-3201-4093-AE28-0E65F03589B7}" dt="2023-07-12T05:42:07.934" v="164" actId="692"/>
          <ac:cxnSpMkLst>
            <pc:docMk/>
            <pc:sldMk cId="179364010" sldId="256"/>
            <ac:cxnSpMk id="20" creationId="{898432E6-9E10-5CFA-BA22-177687C2BBB9}"/>
          </ac:cxnSpMkLst>
        </pc:cxnChg>
        <pc:cxnChg chg="add mod topLvl">
          <ac:chgData name="Alannah Tran" userId="ca071bd6-a585-4695-914d-bc8a7ace8862" providerId="ADAL" clId="{2253346E-3201-4093-AE28-0E65F03589B7}" dt="2023-07-12T05:47:56.077" v="252" actId="12788"/>
          <ac:cxnSpMkLst>
            <pc:docMk/>
            <pc:sldMk cId="179364010" sldId="256"/>
            <ac:cxnSpMk id="21" creationId="{6FFA569F-3C25-7DAC-C746-1BE195FBF105}"/>
          </ac:cxnSpMkLst>
        </pc:cxnChg>
        <pc:cxnChg chg="add mod topLvl">
          <ac:chgData name="Alannah Tran" userId="ca071bd6-a585-4695-914d-bc8a7ace8862" providerId="ADAL" clId="{2253346E-3201-4093-AE28-0E65F03589B7}" dt="2023-07-12T05:51:16.417" v="306" actId="12788"/>
          <ac:cxnSpMkLst>
            <pc:docMk/>
            <pc:sldMk cId="179364010" sldId="256"/>
            <ac:cxnSpMk id="22" creationId="{B02B85E3-FA30-BF48-DAC1-ECEDE47D24F2}"/>
          </ac:cxnSpMkLst>
        </pc:cxnChg>
        <pc:cxnChg chg="add mod topLvl">
          <ac:chgData name="Alannah Tran" userId="ca071bd6-a585-4695-914d-bc8a7ace8862" providerId="ADAL" clId="{2253346E-3201-4093-AE28-0E65F03589B7}" dt="2023-07-12T05:42:07.934" v="164" actId="692"/>
          <ac:cxnSpMkLst>
            <pc:docMk/>
            <pc:sldMk cId="179364010" sldId="256"/>
            <ac:cxnSpMk id="23" creationId="{66F5830B-BE1C-498D-AB1B-30ABB1D04280}"/>
          </ac:cxnSpMkLst>
        </pc:cxnChg>
        <pc:cxnChg chg="add mod topLvl">
          <ac:chgData name="Alannah Tran" userId="ca071bd6-a585-4695-914d-bc8a7ace8862" providerId="ADAL" clId="{2253346E-3201-4093-AE28-0E65F03589B7}" dt="2023-07-12T05:51:06.038" v="301" actId="12789"/>
          <ac:cxnSpMkLst>
            <pc:docMk/>
            <pc:sldMk cId="179364010" sldId="256"/>
            <ac:cxnSpMk id="32" creationId="{8B4F1283-A7C7-AF0D-BFAF-04DF29472C93}"/>
          </ac:cxnSpMkLst>
        </pc:cxnChg>
        <pc:cxnChg chg="add mod topLvl">
          <ac:chgData name="Alannah Tran" userId="ca071bd6-a585-4695-914d-bc8a7ace8862" providerId="ADAL" clId="{2253346E-3201-4093-AE28-0E65F03589B7}" dt="2023-07-12T05:51:10.801" v="303" actId="14100"/>
          <ac:cxnSpMkLst>
            <pc:docMk/>
            <pc:sldMk cId="179364010" sldId="256"/>
            <ac:cxnSpMk id="33" creationId="{863E74FF-FF42-55A0-33F7-9CCE6C42A270}"/>
          </ac:cxnSpMkLst>
        </pc:cxnChg>
        <pc:cxnChg chg="add mod topLvl">
          <ac:chgData name="Alannah Tran" userId="ca071bd6-a585-4695-914d-bc8a7ace8862" providerId="ADAL" clId="{2253346E-3201-4093-AE28-0E65F03589B7}" dt="2023-07-12T05:51:06.038" v="301" actId="12789"/>
          <ac:cxnSpMkLst>
            <pc:docMk/>
            <pc:sldMk cId="179364010" sldId="256"/>
            <ac:cxnSpMk id="34" creationId="{324980A1-F557-95C2-5C81-95A5DED70138}"/>
          </ac:cxnSpMkLst>
        </pc:cxnChg>
        <pc:cxnChg chg="add mod topLvl">
          <ac:chgData name="Alannah Tran" userId="ca071bd6-a585-4695-914d-bc8a7ace8862" providerId="ADAL" clId="{2253346E-3201-4093-AE28-0E65F03589B7}" dt="2023-07-12T05:51:06.038" v="301" actId="12789"/>
          <ac:cxnSpMkLst>
            <pc:docMk/>
            <pc:sldMk cId="179364010" sldId="256"/>
            <ac:cxnSpMk id="36" creationId="{1FDD199D-B8D1-F224-E927-3B8BE0FB2F53}"/>
          </ac:cxnSpMkLst>
        </pc:cxnChg>
        <pc:cxnChg chg="add mod topLvl">
          <ac:chgData name="Alannah Tran" userId="ca071bd6-a585-4695-914d-bc8a7ace8862" providerId="ADAL" clId="{2253346E-3201-4093-AE28-0E65F03589B7}" dt="2023-07-12T05:51:06.038" v="301" actId="12789"/>
          <ac:cxnSpMkLst>
            <pc:docMk/>
            <pc:sldMk cId="179364010" sldId="256"/>
            <ac:cxnSpMk id="38" creationId="{6BA133CD-CD25-74A1-6E3A-5A208A0DEF2B}"/>
          </ac:cxnSpMkLst>
        </pc:cxnChg>
        <pc:cxnChg chg="add mod topLvl">
          <ac:chgData name="Alannah Tran" userId="ca071bd6-a585-4695-914d-bc8a7ace8862" providerId="ADAL" clId="{2253346E-3201-4093-AE28-0E65F03589B7}" dt="2023-07-12T05:51:06.038" v="301" actId="12789"/>
          <ac:cxnSpMkLst>
            <pc:docMk/>
            <pc:sldMk cId="179364010" sldId="256"/>
            <ac:cxnSpMk id="39" creationId="{ACE30AAA-4329-2BFC-B673-50ECC5DFECB4}"/>
          </ac:cxnSpMkLst>
        </pc:cxnChg>
        <pc:cxnChg chg="add mod topLvl">
          <ac:chgData name="Alannah Tran" userId="ca071bd6-a585-4695-914d-bc8a7ace8862" providerId="ADAL" clId="{2253346E-3201-4093-AE28-0E65F03589B7}" dt="2023-07-12T05:53:59.702" v="319" actId="12789"/>
          <ac:cxnSpMkLst>
            <pc:docMk/>
            <pc:sldMk cId="179364010" sldId="256"/>
            <ac:cxnSpMk id="40" creationId="{3108CF67-6FBF-608B-D7B1-271238E8F162}"/>
          </ac:cxnSpMkLst>
        </pc:cxnChg>
        <pc:cxnChg chg="add mod topLvl">
          <ac:chgData name="Alannah Tran" userId="ca071bd6-a585-4695-914d-bc8a7ace8862" providerId="ADAL" clId="{2253346E-3201-4093-AE28-0E65F03589B7}" dt="2023-07-12T05:53:59.702" v="319" actId="12789"/>
          <ac:cxnSpMkLst>
            <pc:docMk/>
            <pc:sldMk cId="179364010" sldId="256"/>
            <ac:cxnSpMk id="41" creationId="{FA9215B0-9CB3-E5CE-50E3-1770B89AEFA4}"/>
          </ac:cxnSpMkLst>
        </pc:cxnChg>
        <pc:cxnChg chg="add mod topLvl">
          <ac:chgData name="Alannah Tran" userId="ca071bd6-a585-4695-914d-bc8a7ace8862" providerId="ADAL" clId="{2253346E-3201-4093-AE28-0E65F03589B7}" dt="2023-07-12T05:46:40.659" v="234" actId="14100"/>
          <ac:cxnSpMkLst>
            <pc:docMk/>
            <pc:sldMk cId="179364010" sldId="256"/>
            <ac:cxnSpMk id="42" creationId="{7A0F6174-6EC4-679A-A24F-B5F9CCAA4D82}"/>
          </ac:cxnSpMkLst>
        </pc:cxnChg>
        <pc:cxnChg chg="add mod topLvl">
          <ac:chgData name="Alannah Tran" userId="ca071bd6-a585-4695-914d-bc8a7ace8862" providerId="ADAL" clId="{2253346E-3201-4093-AE28-0E65F03589B7}" dt="2023-07-12T05:46:40.659" v="234" actId="14100"/>
          <ac:cxnSpMkLst>
            <pc:docMk/>
            <pc:sldMk cId="179364010" sldId="256"/>
            <ac:cxnSpMk id="43" creationId="{C0B27CD3-DBA9-9A4B-76B9-00FC80C7C911}"/>
          </ac:cxnSpMkLst>
        </pc:cxnChg>
        <pc:cxnChg chg="add mod topLvl">
          <ac:chgData name="Alannah Tran" userId="ca071bd6-a585-4695-914d-bc8a7ace8862" providerId="ADAL" clId="{2253346E-3201-4093-AE28-0E65F03589B7}" dt="2023-07-12T05:53:59.702" v="319" actId="12789"/>
          <ac:cxnSpMkLst>
            <pc:docMk/>
            <pc:sldMk cId="179364010" sldId="256"/>
            <ac:cxnSpMk id="44" creationId="{AFE9A299-AB6F-565B-831B-F5FB74157907}"/>
          </ac:cxnSpMkLst>
        </pc:cxnChg>
        <pc:cxnChg chg="add mod topLvl">
          <ac:chgData name="Alannah Tran" userId="ca071bd6-a585-4695-914d-bc8a7ace8862" providerId="ADAL" clId="{2253346E-3201-4093-AE28-0E65F03589B7}" dt="2023-07-12T05:49:18.507" v="275" actId="14100"/>
          <ac:cxnSpMkLst>
            <pc:docMk/>
            <pc:sldMk cId="179364010" sldId="256"/>
            <ac:cxnSpMk id="54" creationId="{0C75B27C-117A-8D84-6CBA-BCF1B77CB939}"/>
          </ac:cxnSpMkLst>
        </pc:cxnChg>
        <pc:cxnChg chg="add mod topLvl">
          <ac:chgData name="Alannah Tran" userId="ca071bd6-a585-4695-914d-bc8a7ace8862" providerId="ADAL" clId="{2253346E-3201-4093-AE28-0E65F03589B7}" dt="2023-07-12T05:49:18.507" v="275" actId="14100"/>
          <ac:cxnSpMkLst>
            <pc:docMk/>
            <pc:sldMk cId="179364010" sldId="256"/>
            <ac:cxnSpMk id="55" creationId="{F9D915BA-BF72-A9E7-6E4A-7434F3BFFFCF}"/>
          </ac:cxnSpMkLst>
        </pc:cxnChg>
        <pc:cxnChg chg="add mod topLvl">
          <ac:chgData name="Alannah Tran" userId="ca071bd6-a585-4695-914d-bc8a7ace8862" providerId="ADAL" clId="{2253346E-3201-4093-AE28-0E65F03589B7}" dt="2023-07-12T05:46:37.669" v="233" actId="14100"/>
          <ac:cxnSpMkLst>
            <pc:docMk/>
            <pc:sldMk cId="179364010" sldId="256"/>
            <ac:cxnSpMk id="58" creationId="{ABE913E7-71AC-9782-467E-641B6269B084}"/>
          </ac:cxnSpMkLst>
        </pc:cxnChg>
        <pc:cxnChg chg="add mod topLvl">
          <ac:chgData name="Alannah Tran" userId="ca071bd6-a585-4695-914d-bc8a7ace8862" providerId="ADAL" clId="{2253346E-3201-4093-AE28-0E65F03589B7}" dt="2023-07-12T05:46:37.669" v="233" actId="14100"/>
          <ac:cxnSpMkLst>
            <pc:docMk/>
            <pc:sldMk cId="179364010" sldId="256"/>
            <ac:cxnSpMk id="59" creationId="{C1EF253B-20B7-7B2A-8F57-F16EB84DE19D}"/>
          </ac:cxnSpMkLst>
        </pc:cxnChg>
        <pc:cxnChg chg="add mod topLvl">
          <ac:chgData name="Alannah Tran" userId="ca071bd6-a585-4695-914d-bc8a7ace8862" providerId="ADAL" clId="{2253346E-3201-4093-AE28-0E65F03589B7}" dt="2023-07-12T05:51:16.417" v="306" actId="12788"/>
          <ac:cxnSpMkLst>
            <pc:docMk/>
            <pc:sldMk cId="179364010" sldId="256"/>
            <ac:cxnSpMk id="60" creationId="{D311A7FD-9BD7-27E2-1F27-99267A5E4D1F}"/>
          </ac:cxnSpMkLst>
        </pc:cxnChg>
        <pc:cxnChg chg="add mod topLvl">
          <ac:chgData name="Alannah Tran" userId="ca071bd6-a585-4695-914d-bc8a7ace8862" providerId="ADAL" clId="{2253346E-3201-4093-AE28-0E65F03589B7}" dt="2023-07-12T05:46:37.669" v="233" actId="14100"/>
          <ac:cxnSpMkLst>
            <pc:docMk/>
            <pc:sldMk cId="179364010" sldId="256"/>
            <ac:cxnSpMk id="63" creationId="{55B37097-6286-DC61-A49F-4E57AF786954}"/>
          </ac:cxnSpMkLst>
        </pc:cxnChg>
        <pc:cxnChg chg="add mod topLvl">
          <ac:chgData name="Alannah Tran" userId="ca071bd6-a585-4695-914d-bc8a7ace8862" providerId="ADAL" clId="{2253346E-3201-4093-AE28-0E65F03589B7}" dt="2023-07-12T05:46:37.669" v="233" actId="14100"/>
          <ac:cxnSpMkLst>
            <pc:docMk/>
            <pc:sldMk cId="179364010" sldId="256"/>
            <ac:cxnSpMk id="64" creationId="{451001F8-87D4-F018-DECE-A8826B165327}"/>
          </ac:cxnSpMkLst>
        </pc:cxnChg>
        <pc:cxnChg chg="add mod topLvl">
          <ac:chgData name="Alannah Tran" userId="ca071bd6-a585-4695-914d-bc8a7ace8862" providerId="ADAL" clId="{2253346E-3201-4093-AE28-0E65F03589B7}" dt="2023-07-12T05:53:59.702" v="319" actId="12789"/>
          <ac:cxnSpMkLst>
            <pc:docMk/>
            <pc:sldMk cId="179364010" sldId="256"/>
            <ac:cxnSpMk id="65" creationId="{9A97A0B6-3530-B557-906D-06074C2BDE6F}"/>
          </ac:cxnSpMkLst>
        </pc:cxnChg>
        <pc:cxnChg chg="add mod topLvl">
          <ac:chgData name="Alannah Tran" userId="ca071bd6-a585-4695-914d-bc8a7ace8862" providerId="ADAL" clId="{2253346E-3201-4093-AE28-0E65F03589B7}" dt="2023-07-12T05:49:52.803" v="285" actId="692"/>
          <ac:cxnSpMkLst>
            <pc:docMk/>
            <pc:sldMk cId="179364010" sldId="256"/>
            <ac:cxnSpMk id="66" creationId="{06543B55-C5A2-232D-E44C-CD8A506927AE}"/>
          </ac:cxnSpMkLst>
        </pc:cxnChg>
        <pc:cxnChg chg="add mod topLvl">
          <ac:chgData name="Alannah Tran" userId="ca071bd6-a585-4695-914d-bc8a7ace8862" providerId="ADAL" clId="{2253346E-3201-4093-AE28-0E65F03589B7}" dt="2023-07-12T05:51:50.430" v="308" actId="1076"/>
          <ac:cxnSpMkLst>
            <pc:docMk/>
            <pc:sldMk cId="179364010" sldId="256"/>
            <ac:cxnSpMk id="67" creationId="{502FCE9C-1A64-5FD1-ED3B-2DDFAEC62B1B}"/>
          </ac:cxnSpMkLst>
        </pc:cxnChg>
        <pc:cxnChg chg="add mod topLvl">
          <ac:chgData name="Alannah Tran" userId="ca071bd6-a585-4695-914d-bc8a7ace8862" providerId="ADAL" clId="{2253346E-3201-4093-AE28-0E65F03589B7}" dt="2023-07-12T05:51:50.430" v="308" actId="1076"/>
          <ac:cxnSpMkLst>
            <pc:docMk/>
            <pc:sldMk cId="179364010" sldId="256"/>
            <ac:cxnSpMk id="68" creationId="{22B33BC5-DFFD-0ED6-1FB3-4364D5EBD45D}"/>
          </ac:cxnSpMkLst>
        </pc:cxnChg>
        <pc:cxnChg chg="add mod topLvl">
          <ac:chgData name="Alannah Tran" userId="ca071bd6-a585-4695-914d-bc8a7ace8862" providerId="ADAL" clId="{2253346E-3201-4093-AE28-0E65F03589B7}" dt="2023-07-12T05:46:37.669" v="233" actId="14100"/>
          <ac:cxnSpMkLst>
            <pc:docMk/>
            <pc:sldMk cId="179364010" sldId="256"/>
            <ac:cxnSpMk id="69" creationId="{0206BD01-EB50-6204-212C-C52F446CBC02}"/>
          </ac:cxnSpMkLst>
        </pc:cxnChg>
        <pc:cxnChg chg="add mod topLvl">
          <ac:chgData name="Alannah Tran" userId="ca071bd6-a585-4695-914d-bc8a7ace8862" providerId="ADAL" clId="{2253346E-3201-4093-AE28-0E65F03589B7}" dt="2023-07-12T05:47:10.433" v="241" actId="14100"/>
          <ac:cxnSpMkLst>
            <pc:docMk/>
            <pc:sldMk cId="179364010" sldId="256"/>
            <ac:cxnSpMk id="70" creationId="{30E0A81D-AB21-71CF-2782-9E96183E6E0D}"/>
          </ac:cxnSpMkLst>
        </pc:cxnChg>
        <pc:cxnChg chg="add mod topLvl">
          <ac:chgData name="Alannah Tran" userId="ca071bd6-a585-4695-914d-bc8a7ace8862" providerId="ADAL" clId="{2253346E-3201-4093-AE28-0E65F03589B7}" dt="2023-07-12T05:47:20.561" v="245" actId="14100"/>
          <ac:cxnSpMkLst>
            <pc:docMk/>
            <pc:sldMk cId="179364010" sldId="256"/>
            <ac:cxnSpMk id="71" creationId="{DC9CB90E-DCE3-D340-46B0-EA6F2C73A5BB}"/>
          </ac:cxnSpMkLst>
        </pc:cxnChg>
        <pc:cxnChg chg="add mod topLvl">
          <ac:chgData name="Alannah Tran" userId="ca071bd6-a585-4695-914d-bc8a7ace8862" providerId="ADAL" clId="{2253346E-3201-4093-AE28-0E65F03589B7}" dt="2023-07-12T05:51:40.199" v="307" actId="14100"/>
          <ac:cxnSpMkLst>
            <pc:docMk/>
            <pc:sldMk cId="179364010" sldId="256"/>
            <ac:cxnSpMk id="72" creationId="{0F1B31EE-3A1A-508D-F309-9F0AF31ED4C9}"/>
          </ac:cxnSpMkLst>
        </pc:cxnChg>
        <pc:cxnChg chg="add mod topLvl">
          <ac:chgData name="Alannah Tran" userId="ca071bd6-a585-4695-914d-bc8a7ace8862" providerId="ADAL" clId="{2253346E-3201-4093-AE28-0E65F03589B7}" dt="2023-07-12T05:51:52.052" v="309" actId="14100"/>
          <ac:cxnSpMkLst>
            <pc:docMk/>
            <pc:sldMk cId="179364010" sldId="256"/>
            <ac:cxnSpMk id="73" creationId="{155CC5F8-17BF-A4EE-B352-84E85FD0560F}"/>
          </ac:cxnSpMkLst>
        </pc:cxnChg>
        <pc:cxnChg chg="add mod topLvl">
          <ac:chgData name="Alannah Tran" userId="ca071bd6-a585-4695-914d-bc8a7ace8862" providerId="ADAL" clId="{2253346E-3201-4093-AE28-0E65F03589B7}" dt="2023-07-12T05:51:50.430" v="308" actId="1076"/>
          <ac:cxnSpMkLst>
            <pc:docMk/>
            <pc:sldMk cId="179364010" sldId="256"/>
            <ac:cxnSpMk id="74" creationId="{FE078F0A-A74A-E0CA-ADAD-3D95380900BC}"/>
          </ac:cxnSpMkLst>
        </pc:cxnChg>
        <pc:cxnChg chg="add mod topLvl">
          <ac:chgData name="Alannah Tran" userId="ca071bd6-a585-4695-914d-bc8a7ace8862" providerId="ADAL" clId="{2253346E-3201-4093-AE28-0E65F03589B7}" dt="2023-07-12T05:49:18.507" v="275" actId="14100"/>
          <ac:cxnSpMkLst>
            <pc:docMk/>
            <pc:sldMk cId="179364010" sldId="256"/>
            <ac:cxnSpMk id="75" creationId="{53D8254C-2482-22D7-DBDE-D8A031F1854C}"/>
          </ac:cxnSpMkLst>
        </pc:cxnChg>
        <pc:cxnChg chg="add mod topLvl">
          <ac:chgData name="Alannah Tran" userId="ca071bd6-a585-4695-914d-bc8a7ace8862" providerId="ADAL" clId="{2253346E-3201-4093-AE28-0E65F03589B7}" dt="2023-07-12T05:51:16.417" v="306" actId="12788"/>
          <ac:cxnSpMkLst>
            <pc:docMk/>
            <pc:sldMk cId="179364010" sldId="256"/>
            <ac:cxnSpMk id="76" creationId="{F034EDCB-C769-B8B0-06A6-B05D5915ADE3}"/>
          </ac:cxnSpMkLst>
        </pc:cxnChg>
      </pc:sldChg>
      <pc:sldChg chg="del">
        <pc:chgData name="Alannah Tran" userId="ca071bd6-a585-4695-914d-bc8a7ace8862" providerId="ADAL" clId="{2253346E-3201-4093-AE28-0E65F03589B7}" dt="2023-07-12T05:36:52.692" v="0" actId="47"/>
        <pc:sldMkLst>
          <pc:docMk/>
          <pc:sldMk cId="3867168250" sldId="257"/>
        </pc:sldMkLst>
      </pc:sldChg>
      <pc:sldChg chg="del">
        <pc:chgData name="Alannah Tran" userId="ca071bd6-a585-4695-914d-bc8a7ace8862" providerId="ADAL" clId="{2253346E-3201-4093-AE28-0E65F03589B7}" dt="2023-07-12T05:36:52.692" v="0" actId="47"/>
        <pc:sldMkLst>
          <pc:docMk/>
          <pc:sldMk cId="1848473411" sldId="258"/>
        </pc:sldMkLst>
      </pc:sldChg>
      <pc:sldChg chg="del">
        <pc:chgData name="Alannah Tran" userId="ca071bd6-a585-4695-914d-bc8a7ace8862" providerId="ADAL" clId="{2253346E-3201-4093-AE28-0E65F03589B7}" dt="2023-07-12T05:36:52.692" v="0" actId="47"/>
        <pc:sldMkLst>
          <pc:docMk/>
          <pc:sldMk cId="936122139" sldId="259"/>
        </pc:sldMkLst>
      </pc:sldChg>
      <pc:sldChg chg="del">
        <pc:chgData name="Alannah Tran" userId="ca071bd6-a585-4695-914d-bc8a7ace8862" providerId="ADAL" clId="{2253346E-3201-4093-AE28-0E65F03589B7}" dt="2023-07-12T05:36:52.692" v="0" actId="47"/>
        <pc:sldMkLst>
          <pc:docMk/>
          <pc:sldMk cId="2758760607" sldId="260"/>
        </pc:sldMkLst>
      </pc:sldChg>
      <pc:sldChg chg="del">
        <pc:chgData name="Alannah Tran" userId="ca071bd6-a585-4695-914d-bc8a7ace8862" providerId="ADAL" clId="{2253346E-3201-4093-AE28-0E65F03589B7}" dt="2023-07-12T05:36:52.692" v="0" actId="47"/>
        <pc:sldMkLst>
          <pc:docMk/>
          <pc:sldMk cId="349356290" sldId="261"/>
        </pc:sldMkLst>
      </pc:sldChg>
      <pc:sldChg chg="del">
        <pc:chgData name="Alannah Tran" userId="ca071bd6-a585-4695-914d-bc8a7ace8862" providerId="ADAL" clId="{2253346E-3201-4093-AE28-0E65F03589B7}" dt="2023-07-12T05:36:52.692" v="0" actId="47"/>
        <pc:sldMkLst>
          <pc:docMk/>
          <pc:sldMk cId="667204396" sldId="262"/>
        </pc:sldMkLst>
      </pc:sldChg>
      <pc:sldChg chg="del">
        <pc:chgData name="Alannah Tran" userId="ca071bd6-a585-4695-914d-bc8a7ace8862" providerId="ADAL" clId="{2253346E-3201-4093-AE28-0E65F03589B7}" dt="2023-07-12T05:36:52.692" v="0" actId="47"/>
        <pc:sldMkLst>
          <pc:docMk/>
          <pc:sldMk cId="2861759433" sldId="263"/>
        </pc:sldMkLst>
      </pc:sldChg>
      <pc:sldChg chg="del">
        <pc:chgData name="Alannah Tran" userId="ca071bd6-a585-4695-914d-bc8a7ace8862" providerId="ADAL" clId="{2253346E-3201-4093-AE28-0E65F03589B7}" dt="2023-07-12T05:36:52.692" v="0" actId="47"/>
        <pc:sldMkLst>
          <pc:docMk/>
          <pc:sldMk cId="2917210897" sldId="264"/>
        </pc:sldMkLst>
      </pc:sldChg>
      <pc:sldChg chg="del">
        <pc:chgData name="Alannah Tran" userId="ca071bd6-a585-4695-914d-bc8a7ace8862" providerId="ADAL" clId="{2253346E-3201-4093-AE28-0E65F03589B7}" dt="2023-07-12T05:36:52.692" v="0" actId="47"/>
        <pc:sldMkLst>
          <pc:docMk/>
          <pc:sldMk cId="2334485098" sldId="266"/>
        </pc:sldMkLst>
      </pc:sldChg>
      <pc:sldChg chg="del">
        <pc:chgData name="Alannah Tran" userId="ca071bd6-a585-4695-914d-bc8a7ace8862" providerId="ADAL" clId="{2253346E-3201-4093-AE28-0E65F03589B7}" dt="2023-07-12T05:36:52.692" v="0" actId="47"/>
        <pc:sldMkLst>
          <pc:docMk/>
          <pc:sldMk cId="1887425759" sldId="285"/>
        </pc:sldMkLst>
      </pc:sldChg>
      <pc:sldChg chg="del">
        <pc:chgData name="Alannah Tran" userId="ca071bd6-a585-4695-914d-bc8a7ace8862" providerId="ADAL" clId="{2253346E-3201-4093-AE28-0E65F03589B7}" dt="2023-07-12T05:36:52.692" v="0" actId="47"/>
        <pc:sldMkLst>
          <pc:docMk/>
          <pc:sldMk cId="2820563090" sldId="286"/>
        </pc:sldMkLst>
      </pc:sldChg>
      <pc:sldChg chg="del">
        <pc:chgData name="Alannah Tran" userId="ca071bd6-a585-4695-914d-bc8a7ace8862" providerId="ADAL" clId="{2253346E-3201-4093-AE28-0E65F03589B7}" dt="2023-07-12T05:36:52.692" v="0" actId="47"/>
        <pc:sldMkLst>
          <pc:docMk/>
          <pc:sldMk cId="1883495281" sldId="287"/>
        </pc:sldMkLst>
      </pc:sldChg>
      <pc:sldChg chg="del">
        <pc:chgData name="Alannah Tran" userId="ca071bd6-a585-4695-914d-bc8a7ace8862" providerId="ADAL" clId="{2253346E-3201-4093-AE28-0E65F03589B7}" dt="2023-07-12T05:36:52.692" v="0" actId="47"/>
        <pc:sldMkLst>
          <pc:docMk/>
          <pc:sldMk cId="2860942600" sldId="288"/>
        </pc:sldMkLst>
      </pc:sldChg>
      <pc:sldChg chg="del">
        <pc:chgData name="Alannah Tran" userId="ca071bd6-a585-4695-914d-bc8a7ace8862" providerId="ADAL" clId="{2253346E-3201-4093-AE28-0E65F03589B7}" dt="2023-07-12T05:36:52.692" v="0" actId="47"/>
        <pc:sldMkLst>
          <pc:docMk/>
          <pc:sldMk cId="2601258264" sldId="289"/>
        </pc:sldMkLst>
      </pc:sldChg>
      <pc:sldChg chg="del">
        <pc:chgData name="Alannah Tran" userId="ca071bd6-a585-4695-914d-bc8a7ace8862" providerId="ADAL" clId="{2253346E-3201-4093-AE28-0E65F03589B7}" dt="2023-07-12T05:36:52.692" v="0" actId="47"/>
        <pc:sldMkLst>
          <pc:docMk/>
          <pc:sldMk cId="2439386809" sldId="290"/>
        </pc:sldMkLst>
      </pc:sldChg>
      <pc:sldChg chg="del">
        <pc:chgData name="Alannah Tran" userId="ca071bd6-a585-4695-914d-bc8a7ace8862" providerId="ADAL" clId="{2253346E-3201-4093-AE28-0E65F03589B7}" dt="2023-07-12T05:36:52.692" v="0" actId="47"/>
        <pc:sldMkLst>
          <pc:docMk/>
          <pc:sldMk cId="28600359" sldId="291"/>
        </pc:sldMkLst>
      </pc:sldChg>
      <pc:sldMasterChg chg="addSp delSp modSp mod">
        <pc:chgData name="Alannah Tran" userId="ca071bd6-a585-4695-914d-bc8a7ace8862" providerId="ADAL" clId="{2253346E-3201-4093-AE28-0E65F03589B7}" dt="2023-07-12T05:52:55.941" v="312" actId="962"/>
        <pc:sldMasterMkLst>
          <pc:docMk/>
          <pc:sldMasterMk cId="2559479050" sldId="2147483648"/>
        </pc:sldMasterMkLst>
        <pc:spChg chg="mod">
          <ac:chgData name="Alannah Tran" userId="ca071bd6-a585-4695-914d-bc8a7ace8862" providerId="ADAL" clId="{2253346E-3201-4093-AE28-0E65F03589B7}" dt="2023-07-12T05:37:05.235" v="41" actId="948"/>
          <ac:spMkLst>
            <pc:docMk/>
            <pc:sldMasterMk cId="2559479050" sldId="2147483648"/>
            <ac:spMk id="2" creationId="{00000000-0000-0000-0000-000000000000}"/>
          </ac:spMkLst>
        </pc:spChg>
        <pc:spChg chg="add del mod modVis">
          <ac:chgData name="Alannah Tran" userId="ca071bd6-a585-4695-914d-bc8a7ace8862" providerId="ADAL" clId="{2253346E-3201-4093-AE28-0E65F03589B7}" dt="2023-07-12T05:37:05.296" v="100"/>
          <ac:spMkLst>
            <pc:docMk/>
            <pc:sldMasterMk cId="2559479050" sldId="2147483648"/>
            <ac:spMk id="7" creationId="{DEDAF2BA-AC9A-2A3C-D87E-E8556A3E2793}"/>
          </ac:spMkLst>
        </pc:spChg>
        <pc:spChg chg="mod">
          <ac:chgData name="Alannah Tran" userId="ca071bd6-a585-4695-914d-bc8a7ace8862" providerId="ADAL" clId="{2253346E-3201-4093-AE28-0E65F03589B7}" dt="2023-07-12T05:52:45.332" v="310" actId="962"/>
          <ac:spMkLst>
            <pc:docMk/>
            <pc:sldMasterMk cId="2559479050" sldId="2147483648"/>
            <ac:spMk id="38" creationId="{DEE5F1F6-308B-BAE5-E04C-67ACD64873A7}"/>
          </ac:spMkLst>
        </pc:spChg>
        <pc:spChg chg="mod">
          <ac:chgData name="Alannah Tran" userId="ca071bd6-a585-4695-914d-bc8a7ace8862" providerId="ADAL" clId="{2253346E-3201-4093-AE28-0E65F03589B7}" dt="2023-07-12T05:52:48.767" v="311" actId="962"/>
          <ac:spMkLst>
            <pc:docMk/>
            <pc:sldMasterMk cId="2559479050" sldId="2147483648"/>
            <ac:spMk id="39" creationId="{ACD74EFB-1EB2-C902-2EB7-7A5AC47A3130}"/>
          </ac:spMkLst>
        </pc:spChg>
        <pc:spChg chg="mod">
          <ac:chgData name="Alannah Tran" userId="ca071bd6-a585-4695-914d-bc8a7ace8862" providerId="ADAL" clId="{2253346E-3201-4093-AE28-0E65F03589B7}" dt="2023-07-12T05:52:48.767" v="311" actId="962"/>
          <ac:spMkLst>
            <pc:docMk/>
            <pc:sldMasterMk cId="2559479050" sldId="2147483648"/>
            <ac:spMk id="40" creationId="{E7241B76-7122-AE56-0EFB-6DFFD069ADBB}"/>
          </ac:spMkLst>
        </pc:spChg>
        <pc:spChg chg="mod">
          <ac:chgData name="Alannah Tran" userId="ca071bd6-a585-4695-914d-bc8a7ace8862" providerId="ADAL" clId="{2253346E-3201-4093-AE28-0E65F03589B7}" dt="2023-07-12T05:52:48.767" v="311" actId="962"/>
          <ac:spMkLst>
            <pc:docMk/>
            <pc:sldMasterMk cId="2559479050" sldId="2147483648"/>
            <ac:spMk id="41" creationId="{1AB8811A-2AF9-3D1A-7290-BC7B6EA26CFE}"/>
          </ac:spMkLst>
        </pc:spChg>
        <pc:spChg chg="mod">
          <ac:chgData name="Alannah Tran" userId="ca071bd6-a585-4695-914d-bc8a7ace8862" providerId="ADAL" clId="{2253346E-3201-4093-AE28-0E65F03589B7}" dt="2023-07-12T05:52:48.767" v="311" actId="962"/>
          <ac:spMkLst>
            <pc:docMk/>
            <pc:sldMasterMk cId="2559479050" sldId="2147483648"/>
            <ac:spMk id="42" creationId="{F88C237B-3642-81D4-58BC-F75C75257471}"/>
          </ac:spMkLst>
        </pc:spChg>
        <pc:graphicFrameChg chg="add mod ord modVis replST">
          <ac:chgData name="Alannah Tran" userId="ca071bd6-a585-4695-914d-bc8a7ace8862" providerId="ADAL" clId="{2253346E-3201-4093-AE28-0E65F03589B7}" dt="2023-07-12T05:37:05.316" v="116"/>
          <ac:graphicFrameMkLst>
            <pc:docMk/>
            <pc:sldMasterMk cId="2559479050" sldId="2147483648"/>
            <ac:graphicFrameMk id="8" creationId="{217251AB-567E-8AF7-4B23-481DD954486E}"/>
          </ac:graphicFrameMkLst>
        </pc:graphicFrameChg>
        <pc:cxnChg chg="mod">
          <ac:chgData name="Alannah Tran" userId="ca071bd6-a585-4695-914d-bc8a7ace8862" providerId="ADAL" clId="{2253346E-3201-4093-AE28-0E65F03589B7}" dt="2023-07-12T05:52:55.941" v="312" actId="962"/>
          <ac:cxnSpMkLst>
            <pc:docMk/>
            <pc:sldMasterMk cId="2559479050" sldId="2147483648"/>
            <ac:cxnSpMk id="24" creationId="{E2331FF9-7A58-D9D4-9E93-1D3FD3FC9D3D}"/>
          </ac:cxnSpMkLst>
        </pc:cxnChg>
      </pc:sldMasterChg>
    </pc:docChg>
  </pc:docChgLst>
  <pc:docChgLst>
    <pc:chgData name="Alannah Tran" userId="ca071bd6-a585-4695-914d-bc8a7ace8862" providerId="ADAL" clId="{D5D4D389-392F-41C3-B36B-6F86F16A1CC2}"/>
    <pc:docChg chg="undo custSel modSld">
      <pc:chgData name="Alannah Tran" userId="ca071bd6-a585-4695-914d-bc8a7ace8862" providerId="ADAL" clId="{D5D4D389-392F-41C3-B36B-6F86F16A1CC2}" dt="2023-07-31T00:57:22.595" v="5" actId="478"/>
      <pc:docMkLst>
        <pc:docMk/>
      </pc:docMkLst>
      <pc:sldChg chg="addSp delSp modSp mod">
        <pc:chgData name="Alannah Tran" userId="ca071bd6-a585-4695-914d-bc8a7ace8862" providerId="ADAL" clId="{D5D4D389-392F-41C3-B36B-6F86F16A1CC2}" dt="2023-07-31T00:57:22.595" v="5" actId="478"/>
        <pc:sldMkLst>
          <pc:docMk/>
          <pc:sldMk cId="179364010" sldId="256"/>
        </pc:sldMkLst>
        <pc:spChg chg="add del">
          <ac:chgData name="Alannah Tran" userId="ca071bd6-a585-4695-914d-bc8a7ace8862" providerId="ADAL" clId="{D5D4D389-392F-41C3-B36B-6F86F16A1CC2}" dt="2023-07-31T00:57:20.087" v="4" actId="478"/>
          <ac:spMkLst>
            <pc:docMk/>
            <pc:sldMk cId="179364010" sldId="256"/>
            <ac:spMk id="2" creationId="{731413AF-F08E-EDBE-1D78-C25C7473AFF5}"/>
          </ac:spMkLst>
        </pc:spChg>
        <pc:spChg chg="add del">
          <ac:chgData name="Alannah Tran" userId="ca071bd6-a585-4695-914d-bc8a7ace8862" providerId="ADAL" clId="{D5D4D389-392F-41C3-B36B-6F86F16A1CC2}" dt="2023-07-31T00:57:22.595" v="5" actId="478"/>
          <ac:spMkLst>
            <pc:docMk/>
            <pc:sldMk cId="179364010" sldId="256"/>
            <ac:spMk id="4" creationId="{B09AFC0D-E492-144B-25DB-B75D5C294A34}"/>
          </ac:spMkLst>
        </pc:spChg>
        <pc:graphicFrameChg chg="mod modVis">
          <ac:chgData name="Alannah Tran" userId="ca071bd6-a585-4695-914d-bc8a7ace8862" providerId="ADAL" clId="{D5D4D389-392F-41C3-B36B-6F86F16A1CC2}" dt="2023-07-31T00:56:51.189" v="1"/>
          <ac:graphicFrameMkLst>
            <pc:docMk/>
            <pc:sldMk cId="179364010" sldId="256"/>
            <ac:graphicFrameMk id="12" creationId="{08B1229B-F8AC-ABA2-B118-BCAF6C5809AF}"/>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BAB11CFF-20DB-F824-5507-317D7C27F614}"/>
              </a:ext>
            </a:extLst>
          </p:cNvPr>
          <p:cNvSpPr/>
          <p:nvPr/>
        </p:nvSpPr>
        <p:spPr>
          <a:xfrm>
            <a:off x="0" y="2222500"/>
            <a:ext cx="12192000" cy="4000500"/>
          </a:xfrm>
          <a:custGeom>
            <a:avLst/>
            <a:gdLst>
              <a:gd name="connsiteX0" fmla="*/ 0 w 12192000"/>
              <a:gd name="connsiteY0" fmla="*/ 0 h 4000500"/>
              <a:gd name="connsiteX1" fmla="*/ 12192000 w 12192000"/>
              <a:gd name="connsiteY1" fmla="*/ 0 h 4000500"/>
              <a:gd name="connsiteX2" fmla="*/ 12192000 w 12192000"/>
              <a:gd name="connsiteY2" fmla="*/ 4000500 h 4000500"/>
              <a:gd name="connsiteX3" fmla="*/ 0 w 12192000"/>
              <a:gd name="connsiteY3" fmla="*/ 4000500 h 4000500"/>
            </a:gdLst>
            <a:ahLst/>
            <a:cxnLst>
              <a:cxn ang="0">
                <a:pos x="connsiteX0" y="connsiteY0"/>
              </a:cxn>
              <a:cxn ang="0">
                <a:pos x="connsiteX1" y="connsiteY1"/>
              </a:cxn>
              <a:cxn ang="0">
                <a:pos x="connsiteX2" y="connsiteY2"/>
              </a:cxn>
              <a:cxn ang="0">
                <a:pos x="connsiteX3" y="connsiteY3"/>
              </a:cxn>
            </a:cxnLst>
            <a:rect l="l" t="t" r="r" b="b"/>
            <a:pathLst>
              <a:path w="12192000" h="4000500">
                <a:moveTo>
                  <a:pt x="0" y="0"/>
                </a:moveTo>
                <a:lnTo>
                  <a:pt x="12192000" y="0"/>
                </a:lnTo>
                <a:lnTo>
                  <a:pt x="12192000" y="4000500"/>
                </a:lnTo>
                <a:lnTo>
                  <a:pt x="0" y="4000500"/>
                </a:lnTo>
                <a:close/>
              </a:path>
            </a:pathLst>
          </a:custGeom>
          <a:solidFill>
            <a:srgbClr val="E0EDF8"/>
          </a:solidFill>
          <a:ln w="635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D5C2211F-CDAF-809F-4B88-EDA1A131FB79}"/>
              </a:ext>
            </a:extLst>
          </p:cNvPr>
          <p:cNvSpPr/>
          <p:nvPr/>
        </p:nvSpPr>
        <p:spPr>
          <a:xfrm>
            <a:off x="6413944" y="3978402"/>
            <a:ext cx="3486658" cy="2879597"/>
          </a:xfrm>
          <a:custGeom>
            <a:avLst/>
            <a:gdLst>
              <a:gd name="connsiteX0" fmla="*/ 1366774 w 3486658"/>
              <a:gd name="connsiteY0" fmla="*/ 0 h 2879597"/>
              <a:gd name="connsiteX1" fmla="*/ 299275 w 3486658"/>
              <a:gd name="connsiteY1" fmla="*/ 2249424 h 2879597"/>
              <a:gd name="connsiteX2" fmla="*/ 0 w 3486658"/>
              <a:gd name="connsiteY2" fmla="*/ 2879598 h 2879597"/>
              <a:gd name="connsiteX3" fmla="*/ 2120456 w 3486658"/>
              <a:gd name="connsiteY3" fmla="*/ 2879598 h 2879597"/>
              <a:gd name="connsiteX4" fmla="*/ 3486658 w 3486658"/>
              <a:gd name="connsiteY4" fmla="*/ 0 h 2879597"/>
              <a:gd name="connsiteX5" fmla="*/ 1366774 w 3486658"/>
              <a:gd name="connsiteY5" fmla="*/ 0 h 287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6658" h="2879597">
                <a:moveTo>
                  <a:pt x="1366774" y="0"/>
                </a:moveTo>
                <a:lnTo>
                  <a:pt x="299275" y="2249424"/>
                </a:lnTo>
                <a:lnTo>
                  <a:pt x="0" y="2879598"/>
                </a:lnTo>
                <a:lnTo>
                  <a:pt x="2120456" y="2879598"/>
                </a:lnTo>
                <a:lnTo>
                  <a:pt x="3486658" y="0"/>
                </a:lnTo>
                <a:lnTo>
                  <a:pt x="1366774" y="0"/>
                </a:lnTo>
                <a:close/>
              </a:path>
            </a:pathLst>
          </a:custGeom>
          <a:solidFill>
            <a:srgbClr val="00B1A8"/>
          </a:solidFill>
          <a:ln w="635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E1DFFED7-688B-50BA-7278-6025FD9F8DE4}"/>
              </a:ext>
            </a:extLst>
          </p:cNvPr>
          <p:cNvSpPr/>
          <p:nvPr/>
        </p:nvSpPr>
        <p:spPr>
          <a:xfrm>
            <a:off x="6715315" y="3978402"/>
            <a:ext cx="2120265" cy="2244597"/>
          </a:xfrm>
          <a:custGeom>
            <a:avLst/>
            <a:gdLst>
              <a:gd name="connsiteX0" fmla="*/ 1065403 w 2120265"/>
              <a:gd name="connsiteY0" fmla="*/ 0 h 2244597"/>
              <a:gd name="connsiteX1" fmla="*/ 0 w 2120265"/>
              <a:gd name="connsiteY1" fmla="*/ 2244598 h 2244597"/>
              <a:gd name="connsiteX2" fmla="*/ 2120265 w 2120265"/>
              <a:gd name="connsiteY2" fmla="*/ 2244598 h 2244597"/>
              <a:gd name="connsiteX3" fmla="*/ 1065340 w 2120265"/>
              <a:gd name="connsiteY3" fmla="*/ 0 h 2244597"/>
            </a:gdLst>
            <a:ahLst/>
            <a:cxnLst>
              <a:cxn ang="0">
                <a:pos x="connsiteX0" y="connsiteY0"/>
              </a:cxn>
              <a:cxn ang="0">
                <a:pos x="connsiteX1" y="connsiteY1"/>
              </a:cxn>
              <a:cxn ang="0">
                <a:pos x="connsiteX2" y="connsiteY2"/>
              </a:cxn>
              <a:cxn ang="0">
                <a:pos x="connsiteX3" y="connsiteY3"/>
              </a:cxn>
            </a:cxnLst>
            <a:rect l="l" t="t" r="r" b="b"/>
            <a:pathLst>
              <a:path w="2120265" h="2244597">
                <a:moveTo>
                  <a:pt x="1065403" y="0"/>
                </a:moveTo>
                <a:lnTo>
                  <a:pt x="0" y="2244598"/>
                </a:lnTo>
                <a:lnTo>
                  <a:pt x="2120265" y="2244598"/>
                </a:lnTo>
                <a:lnTo>
                  <a:pt x="1065340" y="0"/>
                </a:lnTo>
                <a:close/>
              </a:path>
            </a:pathLst>
          </a:custGeom>
          <a:solidFill>
            <a:srgbClr val="FFFFFF">
              <a:alpha val="30000"/>
            </a:srgbClr>
          </a:solidFill>
          <a:ln w="635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D1961E10-0ACD-4273-B74B-A5FC406C19C6}"/>
              </a:ext>
            </a:extLst>
          </p:cNvPr>
          <p:cNvSpPr/>
          <p:nvPr/>
        </p:nvSpPr>
        <p:spPr>
          <a:xfrm>
            <a:off x="7780718" y="3978402"/>
            <a:ext cx="3174682" cy="2244597"/>
          </a:xfrm>
          <a:custGeom>
            <a:avLst/>
            <a:gdLst>
              <a:gd name="connsiteX0" fmla="*/ 0 w 3174682"/>
              <a:gd name="connsiteY0" fmla="*/ 0 h 2244597"/>
              <a:gd name="connsiteX1" fmla="*/ 1054925 w 3174682"/>
              <a:gd name="connsiteY1" fmla="*/ 2244598 h 2244597"/>
              <a:gd name="connsiteX2" fmla="*/ 3174682 w 3174682"/>
              <a:gd name="connsiteY2" fmla="*/ 2244598 h 2244597"/>
              <a:gd name="connsiteX3" fmla="*/ 2119757 w 3174682"/>
              <a:gd name="connsiteY3" fmla="*/ 0 h 2244597"/>
              <a:gd name="connsiteX4" fmla="*/ 0 w 3174682"/>
              <a:gd name="connsiteY4" fmla="*/ 0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682" h="2244597">
                <a:moveTo>
                  <a:pt x="0" y="0"/>
                </a:moveTo>
                <a:lnTo>
                  <a:pt x="1054925" y="2244598"/>
                </a:lnTo>
                <a:lnTo>
                  <a:pt x="3174682" y="2244598"/>
                </a:lnTo>
                <a:cubicBezTo>
                  <a:pt x="3174682" y="2244598"/>
                  <a:pt x="2119757" y="0"/>
                  <a:pt x="2119757" y="0"/>
                </a:cubicBezTo>
                <a:lnTo>
                  <a:pt x="0" y="0"/>
                </a:lnTo>
                <a:close/>
              </a:path>
            </a:pathLst>
          </a:custGeom>
          <a:solidFill>
            <a:srgbClr val="FFFFFF">
              <a:alpha val="50000"/>
            </a:srgbClr>
          </a:solidFill>
          <a:ln w="635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DCBA8527-AAC2-AE8C-AE99-3ED3855615A2}"/>
              </a:ext>
            </a:extLst>
          </p:cNvPr>
          <p:cNvSpPr/>
          <p:nvPr/>
        </p:nvSpPr>
        <p:spPr>
          <a:xfrm>
            <a:off x="6126162" y="0"/>
            <a:ext cx="3547998" cy="3978402"/>
          </a:xfrm>
          <a:custGeom>
            <a:avLst/>
            <a:gdLst>
              <a:gd name="connsiteX0" fmla="*/ 1654556 w 3547998"/>
              <a:gd name="connsiteY0" fmla="*/ 3978402 h 3978402"/>
              <a:gd name="connsiteX1" fmla="*/ 3547999 w 3547998"/>
              <a:gd name="connsiteY1" fmla="*/ 0 h 3978402"/>
              <a:gd name="connsiteX2" fmla="*/ 1877314 w 3547998"/>
              <a:gd name="connsiteY2" fmla="*/ 0 h 3978402"/>
              <a:gd name="connsiteX3" fmla="*/ 0 w 3547998"/>
              <a:gd name="connsiteY3" fmla="*/ 3978402 h 3978402"/>
              <a:gd name="connsiteX4" fmla="*/ 1654556 w 3547998"/>
              <a:gd name="connsiteY4" fmla="*/ 3978402 h 397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998" h="3978402">
                <a:moveTo>
                  <a:pt x="1654556" y="3978402"/>
                </a:moveTo>
                <a:lnTo>
                  <a:pt x="3547999" y="0"/>
                </a:lnTo>
                <a:lnTo>
                  <a:pt x="1877314" y="0"/>
                </a:lnTo>
                <a:lnTo>
                  <a:pt x="0" y="3978402"/>
                </a:lnTo>
                <a:lnTo>
                  <a:pt x="1654556" y="3978402"/>
                </a:lnTo>
                <a:close/>
              </a:path>
            </a:pathLst>
          </a:custGeom>
          <a:solidFill>
            <a:srgbClr val="CDDB00"/>
          </a:solidFill>
          <a:ln w="635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BDB4C663-9154-C5E2-2448-06B2DBCE67CB}"/>
              </a:ext>
            </a:extLst>
          </p:cNvPr>
          <p:cNvSpPr/>
          <p:nvPr/>
        </p:nvSpPr>
        <p:spPr>
          <a:xfrm>
            <a:off x="6954710" y="2222500"/>
            <a:ext cx="1661668" cy="1755902"/>
          </a:xfrm>
          <a:custGeom>
            <a:avLst/>
            <a:gdLst>
              <a:gd name="connsiteX0" fmla="*/ 826009 w 1661668"/>
              <a:gd name="connsiteY0" fmla="*/ 1755902 h 1755902"/>
              <a:gd name="connsiteX1" fmla="*/ 1661668 w 1661668"/>
              <a:gd name="connsiteY1" fmla="*/ 0 h 1755902"/>
              <a:gd name="connsiteX2" fmla="*/ 0 w 1661668"/>
              <a:gd name="connsiteY2" fmla="*/ 0 h 1755902"/>
              <a:gd name="connsiteX3" fmla="*/ 826009 w 1661668"/>
              <a:gd name="connsiteY3" fmla="*/ 1755902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826009" y="1755902"/>
                </a:moveTo>
                <a:lnTo>
                  <a:pt x="1661668" y="0"/>
                </a:lnTo>
                <a:lnTo>
                  <a:pt x="0" y="0"/>
                </a:lnTo>
                <a:cubicBezTo>
                  <a:pt x="0" y="0"/>
                  <a:pt x="826009" y="1755902"/>
                  <a:pt x="826009" y="1755902"/>
                </a:cubicBezTo>
                <a:close/>
              </a:path>
            </a:pathLst>
          </a:custGeom>
          <a:solidFill>
            <a:srgbClr val="FFFFFF">
              <a:alpha val="30000"/>
            </a:srgbClr>
          </a:solidFill>
          <a:ln w="635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ADB7A50D-4182-FFB2-310E-7320D789B12C}"/>
              </a:ext>
            </a:extLst>
          </p:cNvPr>
          <p:cNvSpPr/>
          <p:nvPr/>
        </p:nvSpPr>
        <p:spPr>
          <a:xfrm>
            <a:off x="5300154" y="2222500"/>
            <a:ext cx="2480564" cy="1755902"/>
          </a:xfrm>
          <a:custGeom>
            <a:avLst/>
            <a:gdLst>
              <a:gd name="connsiteX0" fmla="*/ 2480565 w 2480564"/>
              <a:gd name="connsiteY0" fmla="*/ 1755902 h 1755902"/>
              <a:gd name="connsiteX1" fmla="*/ 1654556 w 2480564"/>
              <a:gd name="connsiteY1" fmla="*/ 0 h 1755902"/>
              <a:gd name="connsiteX2" fmla="*/ 0 w 2480564"/>
              <a:gd name="connsiteY2" fmla="*/ 0 h 1755902"/>
              <a:gd name="connsiteX3" fmla="*/ 826008 w 2480564"/>
              <a:gd name="connsiteY3" fmla="*/ 1755902 h 1755902"/>
              <a:gd name="connsiteX4" fmla="*/ 2480565 w 2480564"/>
              <a:gd name="connsiteY4" fmla="*/ 1755902 h 175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564" h="1755902">
                <a:moveTo>
                  <a:pt x="2480565" y="1755902"/>
                </a:moveTo>
                <a:lnTo>
                  <a:pt x="1654556" y="0"/>
                </a:lnTo>
                <a:lnTo>
                  <a:pt x="0" y="0"/>
                </a:lnTo>
                <a:cubicBezTo>
                  <a:pt x="0" y="0"/>
                  <a:pt x="826008" y="1755902"/>
                  <a:pt x="826008" y="1755902"/>
                </a:cubicBezTo>
                <a:lnTo>
                  <a:pt x="2480565" y="1755902"/>
                </a:lnTo>
                <a:close/>
              </a:path>
            </a:pathLst>
          </a:custGeom>
          <a:solidFill>
            <a:srgbClr val="FFFFFF">
              <a:alpha val="50000"/>
            </a:srgbClr>
          </a:solidFill>
          <a:ln w="6350" cap="flat">
            <a:noFill/>
            <a:prstDash val="solid"/>
            <a:miter/>
          </a:ln>
        </p:spPr>
        <p:txBody>
          <a:bodyPr rtlCol="0" anchor="ctr"/>
          <a:lstStyle/>
          <a:p>
            <a:endParaRPr lang="en-AU"/>
          </a:p>
        </p:txBody>
      </p:sp>
      <p:pic>
        <p:nvPicPr>
          <p:cNvPr id="5" name="Graphic 4">
            <a:extLst>
              <a:ext uri="{FF2B5EF4-FFF2-40B4-BE49-F238E27FC236}">
                <a16:creationId xmlns:a16="http://schemas.microsoft.com/office/drawing/2014/main" id="{D7EF04EB-0482-5775-6DD9-DFD8DBF5AD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3472" y="781945"/>
            <a:ext cx="2174677" cy="667912"/>
          </a:xfrm>
          <a:prstGeom prst="rect">
            <a:avLst/>
          </a:prstGeom>
        </p:spPr>
      </p:pic>
      <p:sp>
        <p:nvSpPr>
          <p:cNvPr id="12" name="Footer Placeholder 4">
            <a:extLst>
              <a:ext uri="{FF2B5EF4-FFF2-40B4-BE49-F238E27FC236}">
                <a16:creationId xmlns:a16="http://schemas.microsoft.com/office/drawing/2014/main" id="{A100E9CA-597C-8D3A-F40C-33281AC44A24}"/>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13" name="Slide Number Placeholder 5">
            <a:extLst>
              <a:ext uri="{FF2B5EF4-FFF2-40B4-BE49-F238E27FC236}">
                <a16:creationId xmlns:a16="http://schemas.microsoft.com/office/drawing/2014/main" id="{E4FF72CD-FCEB-896C-7975-222BFDF5C5BA}"/>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a:t>Page </a:t>
            </a:r>
            <a:fld id="{F5AEA0E0-5CC6-4BD0-905C-A0021E419432}" type="slidenum">
              <a:rPr lang="en-GB" smtClean="0"/>
              <a:pPr/>
              <a:t>‹#›</a:t>
            </a:fld>
            <a:endParaRPr lang="en-GB" dirty="0"/>
          </a:p>
        </p:txBody>
      </p:sp>
      <p:cxnSp>
        <p:nvCxnSpPr>
          <p:cNvPr id="14" name="Straight Connector 13">
            <a:extLst>
              <a:ext uri="{FF2B5EF4-FFF2-40B4-BE49-F238E27FC236}">
                <a16:creationId xmlns:a16="http://schemas.microsoft.com/office/drawing/2014/main" id="{20306DDC-F26C-45D8-D01F-068BDCCCCEF4}"/>
              </a:ext>
            </a:extLst>
          </p:cNvPr>
          <p:cNvCxnSpPr/>
          <p:nvPr/>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647698" y="557638"/>
            <a:ext cx="6120000" cy="1440000"/>
          </a:xfrm>
        </p:spPr>
        <p:txBody>
          <a:bodyPr/>
          <a:lstStyle>
            <a:lvl1pPr marL="0" indent="0" algn="l">
              <a:buNone/>
              <a:defRPr sz="3100" b="0">
                <a:solidFill>
                  <a:schemeClr val="accent6"/>
                </a:solidFill>
              </a:defRPr>
            </a:lvl1pPr>
            <a:lvl2pPr marL="0" indent="0" algn="l">
              <a:buNone/>
              <a:defRPr sz="2300" b="0">
                <a:solidFill>
                  <a:schemeClr val="accent6"/>
                </a:solidFill>
              </a:defRPr>
            </a:lvl2pPr>
            <a:lvl3pPr marL="0" indent="0" algn="l">
              <a:buNone/>
              <a:defRPr sz="2300" b="0">
                <a:solidFill>
                  <a:schemeClr val="accent6"/>
                </a:solidFill>
              </a:defRPr>
            </a:lvl3pPr>
            <a:lvl4pPr marL="0" indent="0" algn="l">
              <a:buNone/>
              <a:defRPr sz="2300" b="0">
                <a:solidFill>
                  <a:schemeClr val="accent6"/>
                </a:solidFill>
              </a:defRPr>
            </a:lvl4pPr>
            <a:lvl5pPr marL="0" indent="0" algn="l">
              <a:buNone/>
              <a:defRPr sz="2300" b="0">
                <a:solidFill>
                  <a:schemeClr val="accent6"/>
                </a:solidFill>
              </a:defRPr>
            </a:lvl5pPr>
            <a:lvl6pPr marL="0" indent="0" algn="l">
              <a:buNone/>
              <a:defRPr sz="2300" b="0">
                <a:solidFill>
                  <a:schemeClr val="accent6"/>
                </a:solidFill>
              </a:defRPr>
            </a:lvl6pPr>
            <a:lvl7pPr marL="0" indent="0" algn="l">
              <a:buNone/>
              <a:defRPr sz="2300" b="0">
                <a:solidFill>
                  <a:schemeClr val="accent6"/>
                </a:solidFill>
              </a:defRPr>
            </a:lvl7pPr>
            <a:lvl8pPr marL="0" indent="0" algn="l">
              <a:buNone/>
              <a:defRPr sz="2300" b="0">
                <a:solidFill>
                  <a:schemeClr val="accent6"/>
                </a:solidFill>
              </a:defRPr>
            </a:lvl8pPr>
            <a:lvl9pPr marL="0" indent="0" algn="l">
              <a:buNone/>
              <a:defRPr sz="2300" b="0">
                <a:solidFill>
                  <a:schemeClr val="accent6"/>
                </a:solidFill>
              </a:defRPr>
            </a:lvl9pPr>
          </a:lstStyle>
          <a:p>
            <a:r>
              <a:rPr lang="en-AU" dirty="0"/>
              <a:t>Title heading-first level</a:t>
            </a:r>
            <a:endParaRPr lang="en-GB" dirty="0"/>
          </a:p>
          <a:p>
            <a:pPr lvl="1"/>
            <a:r>
              <a:rPr lang="en-US" dirty="0"/>
              <a:t>Subheading-second level</a:t>
            </a:r>
            <a:endParaRPr lang="en-GB" dirty="0"/>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AC8C855E-6D49-5452-2AF3-B7E4410E2DA9}"/>
              </a:ext>
            </a:extLst>
          </p:cNvPr>
          <p:cNvSpPr>
            <a:spLocks noGrp="1" noChangeAspect="1"/>
          </p:cNvSpPr>
          <p:nvPr>
            <p:ph type="pic" sz="quarter" idx="14" hasCustomPrompt="1"/>
          </p:nvPr>
        </p:nvSpPr>
        <p:spPr>
          <a:xfrm>
            <a:off x="4777232" y="634999"/>
            <a:ext cx="7414768" cy="5588000"/>
          </a:xfrm>
          <a:custGeom>
            <a:avLst/>
            <a:gdLst>
              <a:gd name="connsiteX0" fmla="*/ 2645029 w 7414768"/>
              <a:gd name="connsiteY0" fmla="*/ 0 h 5588000"/>
              <a:gd name="connsiteX1" fmla="*/ 7414768 w 7414768"/>
              <a:gd name="connsiteY1" fmla="*/ 0 h 5588000"/>
              <a:gd name="connsiteX2" fmla="*/ 7414768 w 7414768"/>
              <a:gd name="connsiteY2" fmla="*/ 5588000 h 5588000"/>
              <a:gd name="connsiteX3" fmla="*/ 0 w 7414768"/>
              <a:gd name="connsiteY3" fmla="*/ 5588000 h 5588000"/>
            </a:gdLst>
            <a:ahLst/>
            <a:cxnLst>
              <a:cxn ang="0">
                <a:pos x="connsiteX0" y="connsiteY0"/>
              </a:cxn>
              <a:cxn ang="0">
                <a:pos x="connsiteX1" y="connsiteY1"/>
              </a:cxn>
              <a:cxn ang="0">
                <a:pos x="connsiteX2" y="connsiteY2"/>
              </a:cxn>
              <a:cxn ang="0">
                <a:pos x="connsiteX3" y="connsiteY3"/>
              </a:cxn>
            </a:cxnLst>
            <a:rect l="l" t="t" r="r" b="b"/>
            <a:pathLst>
              <a:path w="7414768" h="5588000">
                <a:moveTo>
                  <a:pt x="2645029" y="0"/>
                </a:moveTo>
                <a:lnTo>
                  <a:pt x="7414768" y="0"/>
                </a:lnTo>
                <a:lnTo>
                  <a:pt x="7414768" y="5588000"/>
                </a:lnTo>
                <a:lnTo>
                  <a:pt x="0" y="5588000"/>
                </a:lnTo>
                <a:close/>
              </a:path>
            </a:pathLst>
          </a:custGeom>
          <a:solidFill>
            <a:schemeClr val="bg1">
              <a:lumMod val="75000"/>
            </a:schemeClr>
          </a:solidFill>
        </p:spPr>
        <p:txBody>
          <a:bodyPr wrap="square" lIns="4320000" tIns="288000" rIns="360000" bIns="360000" anchor="t" anchorCtr="0">
            <a:noAutofit/>
          </a:bodyPr>
          <a:lstStyle>
            <a:lvl1pPr algn="r">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3" name="Free-form: Shape 12">
            <a:extLst>
              <a:ext uri="{FF2B5EF4-FFF2-40B4-BE49-F238E27FC236}">
                <a16:creationId xmlns:a16="http://schemas.microsoft.com/office/drawing/2014/main" id="{A6833558-9D2F-590E-6A07-68442D157548}"/>
              </a:ext>
            </a:extLst>
          </p:cNvPr>
          <p:cNvSpPr/>
          <p:nvPr/>
        </p:nvSpPr>
        <p:spPr>
          <a:xfrm>
            <a:off x="0" y="635000"/>
            <a:ext cx="7422260" cy="5588000"/>
          </a:xfrm>
          <a:custGeom>
            <a:avLst/>
            <a:gdLst>
              <a:gd name="connsiteX0" fmla="*/ 0 w 7422260"/>
              <a:gd name="connsiteY0" fmla="*/ 5588000 h 5588000"/>
              <a:gd name="connsiteX1" fmla="*/ 4777232 w 7422260"/>
              <a:gd name="connsiteY1" fmla="*/ 5588000 h 5588000"/>
              <a:gd name="connsiteX2" fmla="*/ 7422261 w 7422260"/>
              <a:gd name="connsiteY2" fmla="*/ 0 h 5588000"/>
              <a:gd name="connsiteX3" fmla="*/ 0 w 7422260"/>
              <a:gd name="connsiteY3" fmla="*/ 0 h 5588000"/>
              <a:gd name="connsiteX4" fmla="*/ 0 w 7422260"/>
              <a:gd name="connsiteY4" fmla="*/ 5588000 h 55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2260" h="5588000">
                <a:moveTo>
                  <a:pt x="0" y="5588000"/>
                </a:moveTo>
                <a:lnTo>
                  <a:pt x="4777232" y="5588000"/>
                </a:lnTo>
                <a:lnTo>
                  <a:pt x="7422261" y="0"/>
                </a:lnTo>
                <a:lnTo>
                  <a:pt x="0" y="0"/>
                </a:lnTo>
                <a:lnTo>
                  <a:pt x="0" y="5588000"/>
                </a:lnTo>
                <a:close/>
              </a:path>
            </a:pathLst>
          </a:custGeom>
          <a:solidFill>
            <a:srgbClr val="00B1A8"/>
          </a:solidFill>
          <a:ln w="6350" cap="flat">
            <a:noFill/>
            <a:prstDash val="solid"/>
            <a:miter/>
          </a:ln>
        </p:spPr>
        <p:txBody>
          <a:bodyPr rtlCol="0" anchor="ctr"/>
          <a:lstStyle/>
          <a:p>
            <a:endParaRPr lang="en-AU"/>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643977" y="3176337"/>
            <a:ext cx="5040000" cy="1440000"/>
          </a:xfrm>
        </p:spPr>
        <p:txBody>
          <a:bodyPr/>
          <a:lstStyle>
            <a:lvl1pPr marL="0" indent="0" algn="l">
              <a:buNone/>
              <a:defRPr sz="2300" b="0">
                <a:solidFill>
                  <a:schemeClr val="bg1"/>
                </a:solidFill>
              </a:defRPr>
            </a:lvl1pPr>
            <a:lvl2pPr marL="0" indent="0" algn="l">
              <a:buNone/>
              <a:defRPr sz="2300" b="0">
                <a:solidFill>
                  <a:schemeClr val="accent3"/>
                </a:solidFill>
              </a:defRPr>
            </a:lvl2pPr>
            <a:lvl3pPr marL="0" indent="0" algn="l">
              <a:buNone/>
              <a:defRPr sz="2300" b="0">
                <a:solidFill>
                  <a:schemeClr val="bg1"/>
                </a:solidFill>
              </a:defRPr>
            </a:lvl3pPr>
            <a:lvl4pPr marL="0" indent="0" algn="l">
              <a:buNone/>
              <a:defRPr sz="2300" b="0">
                <a:solidFill>
                  <a:schemeClr val="bg1"/>
                </a:solidFill>
              </a:defRPr>
            </a:lvl4pPr>
            <a:lvl5pPr marL="0" indent="0" algn="l">
              <a:buNone/>
              <a:defRPr sz="2300" b="0">
                <a:solidFill>
                  <a:schemeClr val="bg1"/>
                </a:solidFill>
              </a:defRPr>
            </a:lvl5pPr>
            <a:lvl6pPr marL="0" indent="0" algn="l">
              <a:buNone/>
              <a:defRPr sz="2300" b="0">
                <a:solidFill>
                  <a:schemeClr val="bg1"/>
                </a:solidFill>
              </a:defRPr>
            </a:lvl6pPr>
            <a:lvl7pPr marL="0" indent="0" algn="l">
              <a:buNone/>
              <a:defRPr sz="2300" b="0">
                <a:solidFill>
                  <a:schemeClr val="bg1"/>
                </a:solidFill>
              </a:defRPr>
            </a:lvl7pPr>
            <a:lvl8pPr marL="0" indent="0" algn="l">
              <a:buNone/>
              <a:defRPr sz="2300" b="0">
                <a:solidFill>
                  <a:schemeClr val="bg1"/>
                </a:solidFill>
              </a:defRPr>
            </a:lvl8pPr>
            <a:lvl9pPr marL="0" indent="0" algn="l">
              <a:buNone/>
              <a:defRPr sz="2300"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647699" y="2011612"/>
            <a:ext cx="5040000" cy="1080000"/>
          </a:xfrm>
        </p:spPr>
        <p:txBody>
          <a:bodyPr anchor="b" anchorCtr="0"/>
          <a:lstStyle>
            <a:lvl1pPr>
              <a:defRPr sz="3100">
                <a:solidFill>
                  <a:schemeClr val="bg1"/>
                </a:solidFill>
              </a:defRPr>
            </a:lvl1pPr>
          </a:lstStyle>
          <a:p>
            <a:r>
              <a:rPr lang="en-US" dirty="0"/>
              <a:t>Section Header</a:t>
            </a:r>
            <a:endParaRPr lang="en-GB" dirty="0"/>
          </a:p>
        </p:txBody>
      </p:sp>
      <p:sp>
        <p:nvSpPr>
          <p:cNvPr id="12" name="Free-form: Shape 11">
            <a:extLst>
              <a:ext uri="{FF2B5EF4-FFF2-40B4-BE49-F238E27FC236}">
                <a16:creationId xmlns:a16="http://schemas.microsoft.com/office/drawing/2014/main" id="{46A622D3-ACA9-C40F-E4FC-7C7DA829AD89}"/>
              </a:ext>
            </a:extLst>
          </p:cNvPr>
          <p:cNvSpPr/>
          <p:nvPr/>
        </p:nvSpPr>
        <p:spPr>
          <a:xfrm>
            <a:off x="7422324" y="0"/>
            <a:ext cx="1185227" cy="635000"/>
          </a:xfrm>
          <a:custGeom>
            <a:avLst/>
            <a:gdLst>
              <a:gd name="connsiteX0" fmla="*/ 300228 w 1185227"/>
              <a:gd name="connsiteY0" fmla="*/ 0 h 635000"/>
              <a:gd name="connsiteX1" fmla="*/ 0 w 1185227"/>
              <a:gd name="connsiteY1" fmla="*/ 635000 h 635000"/>
              <a:gd name="connsiteX2" fmla="*/ 885698 w 1185227"/>
              <a:gd name="connsiteY2" fmla="*/ 635000 h 635000"/>
              <a:gd name="connsiteX3" fmla="*/ 1185228 w 1185227"/>
              <a:gd name="connsiteY3" fmla="*/ 0 h 635000"/>
              <a:gd name="connsiteX4" fmla="*/ 300228 w 1185227"/>
              <a:gd name="connsiteY4" fmla="*/ 0 h 6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27" h="635000">
                <a:moveTo>
                  <a:pt x="300228" y="0"/>
                </a:moveTo>
                <a:lnTo>
                  <a:pt x="0" y="635000"/>
                </a:lnTo>
                <a:lnTo>
                  <a:pt x="885698" y="635000"/>
                </a:lnTo>
                <a:cubicBezTo>
                  <a:pt x="885698" y="635000"/>
                  <a:pt x="1185228" y="0"/>
                  <a:pt x="1185228" y="0"/>
                </a:cubicBezTo>
                <a:lnTo>
                  <a:pt x="300228" y="0"/>
                </a:lnTo>
                <a:close/>
              </a:path>
            </a:pathLst>
          </a:custGeom>
          <a:solidFill>
            <a:srgbClr val="CDDB00"/>
          </a:solidFill>
          <a:ln w="635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132F4E9-A47A-DFCF-A30E-0DF06ABFF4EC}"/>
              </a:ext>
            </a:extLst>
          </p:cNvPr>
          <p:cNvSpPr/>
          <p:nvPr/>
        </p:nvSpPr>
        <p:spPr>
          <a:xfrm>
            <a:off x="7860283" y="6222936"/>
            <a:ext cx="1322641" cy="635127"/>
          </a:xfrm>
          <a:custGeom>
            <a:avLst/>
            <a:gdLst>
              <a:gd name="connsiteX0" fmla="*/ 1322642 w 1322641"/>
              <a:gd name="connsiteY0" fmla="*/ 0 h 635127"/>
              <a:gd name="connsiteX1" fmla="*/ 300482 w 1322641"/>
              <a:gd name="connsiteY1" fmla="*/ 2540 h 635127"/>
              <a:gd name="connsiteX2" fmla="*/ 0 w 1322641"/>
              <a:gd name="connsiteY2" fmla="*/ 635127 h 635127"/>
              <a:gd name="connsiteX3" fmla="*/ 1021080 w 1322641"/>
              <a:gd name="connsiteY3" fmla="*/ 635127 h 635127"/>
              <a:gd name="connsiteX4" fmla="*/ 1322578 w 1322641"/>
              <a:gd name="connsiteY4" fmla="*/ 64 h 63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641" h="635127">
                <a:moveTo>
                  <a:pt x="1322642" y="0"/>
                </a:moveTo>
                <a:lnTo>
                  <a:pt x="300482" y="2540"/>
                </a:lnTo>
                <a:lnTo>
                  <a:pt x="0" y="635127"/>
                </a:lnTo>
                <a:lnTo>
                  <a:pt x="1021080" y="635127"/>
                </a:lnTo>
                <a:lnTo>
                  <a:pt x="1322578" y="64"/>
                </a:lnTo>
                <a:close/>
              </a:path>
            </a:pathLst>
          </a:custGeom>
          <a:solidFill>
            <a:srgbClr val="53565A"/>
          </a:solidFill>
          <a:ln w="635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6A699EE-32B6-DF42-B15C-A2EB2445DBF7}"/>
              </a:ext>
            </a:extLst>
          </p:cNvPr>
          <p:cNvSpPr/>
          <p:nvPr/>
        </p:nvSpPr>
        <p:spPr>
          <a:xfrm>
            <a:off x="7865109" y="635000"/>
            <a:ext cx="442848" cy="936625"/>
          </a:xfrm>
          <a:custGeom>
            <a:avLst/>
            <a:gdLst>
              <a:gd name="connsiteX0" fmla="*/ 442849 w 442848"/>
              <a:gd name="connsiteY0" fmla="*/ 0 h 936625"/>
              <a:gd name="connsiteX1" fmla="*/ 0 w 442848"/>
              <a:gd name="connsiteY1" fmla="*/ 936625 h 936625"/>
            </a:gdLst>
            <a:ahLst/>
            <a:cxnLst>
              <a:cxn ang="0">
                <a:pos x="connsiteX0" y="connsiteY0"/>
              </a:cxn>
              <a:cxn ang="0">
                <a:pos x="connsiteX1" y="connsiteY1"/>
              </a:cxn>
            </a:cxnLst>
            <a:rect l="l" t="t" r="r" b="b"/>
            <a:pathLst>
              <a:path w="442848" h="936625">
                <a:moveTo>
                  <a:pt x="442849" y="0"/>
                </a:moveTo>
                <a:lnTo>
                  <a:pt x="0" y="936625"/>
                </a:lnTo>
              </a:path>
            </a:pathLst>
          </a:custGeom>
          <a:solidFill>
            <a:srgbClr val="FFFFFF"/>
          </a:solidFill>
          <a:ln w="6350" cap="flat">
            <a:noFill/>
            <a:prstDash val="solid"/>
            <a:miter/>
          </a:ln>
        </p:spPr>
        <p:txBody>
          <a:bodyPr rtlCol="0" anchor="ctr"/>
          <a:lstStyle/>
          <a:p>
            <a:endParaRPr lang="en-AU"/>
          </a:p>
        </p:txBody>
      </p:sp>
      <p:sp>
        <p:nvSpPr>
          <p:cNvPr id="21" name="Date Placeholder 3">
            <a:extLst>
              <a:ext uri="{FF2B5EF4-FFF2-40B4-BE49-F238E27FC236}">
                <a16:creationId xmlns:a16="http://schemas.microsoft.com/office/drawing/2014/main" id="{A591062E-F0A2-F145-9596-91D65AA7717A}"/>
              </a:ext>
            </a:extLst>
          </p:cNvPr>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0AD5CFBE-2369-4C9B-8CE4-1396F5E21299}" type="datetime1">
              <a:rPr lang="en-GB" smtClean="0"/>
              <a:t>31/07/2023</a:t>
            </a:fld>
            <a:endParaRPr lang="en-GB"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23" name="Slide Number Placeholder 5">
            <a:extLst>
              <a:ext uri="{FF2B5EF4-FFF2-40B4-BE49-F238E27FC236}">
                <a16:creationId xmlns:a16="http://schemas.microsoft.com/office/drawing/2014/main" id="{C903D72C-DFD6-E8D3-917D-CD26FF3DBA8F}"/>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6A2A799F-8F7A-5A2E-D0E0-255E6412E18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836526B3-0C3D-620A-284C-4E10B42279C4}"/>
              </a:ext>
            </a:extLst>
          </p:cNvPr>
          <p:cNvSpPr>
            <a:spLocks noGrp="1"/>
          </p:cNvSpPr>
          <p:nvPr>
            <p:ph type="body" sz="quarter" idx="15"/>
          </p:nvPr>
        </p:nvSpPr>
        <p:spPr>
          <a:xfrm>
            <a:off x="7422259" y="635000"/>
            <a:ext cx="885698" cy="936625"/>
          </a:xfrm>
          <a:custGeom>
            <a:avLst/>
            <a:gdLst>
              <a:gd name="connsiteX0" fmla="*/ 0 w 885698"/>
              <a:gd name="connsiteY0" fmla="*/ 0 h 936625"/>
              <a:gd name="connsiteX1" fmla="*/ 885698 w 885698"/>
              <a:gd name="connsiteY1" fmla="*/ 0 h 936625"/>
              <a:gd name="connsiteX2" fmla="*/ 442849 w 885698"/>
              <a:gd name="connsiteY2" fmla="*/ 936625 h 936625"/>
              <a:gd name="connsiteX3" fmla="*/ 0 w 885698"/>
              <a:gd name="connsiteY3" fmla="*/ 0 h 936625"/>
            </a:gdLst>
            <a:ahLst/>
            <a:cxnLst>
              <a:cxn ang="0">
                <a:pos x="connsiteX0" y="connsiteY0"/>
              </a:cxn>
              <a:cxn ang="0">
                <a:pos x="connsiteX1" y="connsiteY1"/>
              </a:cxn>
              <a:cxn ang="0">
                <a:pos x="connsiteX2" y="connsiteY2"/>
              </a:cxn>
              <a:cxn ang="0">
                <a:pos x="connsiteX3" y="connsiteY3"/>
              </a:cxn>
            </a:cxnLst>
            <a:rect l="l" t="t" r="r" b="b"/>
            <a:pathLst>
              <a:path w="885698" h="936625">
                <a:moveTo>
                  <a:pt x="0" y="0"/>
                </a:moveTo>
                <a:lnTo>
                  <a:pt x="885698" y="0"/>
                </a:lnTo>
                <a:lnTo>
                  <a:pt x="442849" y="936625"/>
                </a:lnTo>
                <a:cubicBezTo>
                  <a:pt x="442849" y="936625"/>
                  <a:pt x="0" y="0"/>
                  <a:pt x="0" y="0"/>
                </a:cubicBez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9" name="Text Placeholder 28">
            <a:extLst>
              <a:ext uri="{FF2B5EF4-FFF2-40B4-BE49-F238E27FC236}">
                <a16:creationId xmlns:a16="http://schemas.microsoft.com/office/drawing/2014/main" id="{EC59A0FD-3266-9C20-CA11-E79AA49761E5}"/>
              </a:ext>
            </a:extLst>
          </p:cNvPr>
          <p:cNvSpPr>
            <a:spLocks noGrp="1"/>
          </p:cNvSpPr>
          <p:nvPr>
            <p:ph type="body" sz="quarter" idx="17"/>
          </p:nvPr>
        </p:nvSpPr>
        <p:spPr>
          <a:xfrm>
            <a:off x="6979411" y="635000"/>
            <a:ext cx="885698" cy="936625"/>
          </a:xfrm>
          <a:custGeom>
            <a:avLst/>
            <a:gdLst>
              <a:gd name="connsiteX0" fmla="*/ 442849 w 885698"/>
              <a:gd name="connsiteY0" fmla="*/ 0 h 936625"/>
              <a:gd name="connsiteX1" fmla="*/ 885698 w 885698"/>
              <a:gd name="connsiteY1" fmla="*/ 936625 h 936625"/>
              <a:gd name="connsiteX2" fmla="*/ 0 w 885698"/>
              <a:gd name="connsiteY2" fmla="*/ 936625 h 936625"/>
            </a:gdLst>
            <a:ahLst/>
            <a:cxnLst>
              <a:cxn ang="0">
                <a:pos x="connsiteX0" y="connsiteY0"/>
              </a:cxn>
              <a:cxn ang="0">
                <a:pos x="connsiteX1" y="connsiteY1"/>
              </a:cxn>
              <a:cxn ang="0">
                <a:pos x="connsiteX2" y="connsiteY2"/>
              </a:cxn>
            </a:cxnLst>
            <a:rect l="l" t="t" r="r" b="b"/>
            <a:pathLst>
              <a:path w="885698" h="936625">
                <a:moveTo>
                  <a:pt x="442849" y="0"/>
                </a:moveTo>
                <a:cubicBezTo>
                  <a:pt x="442849" y="0"/>
                  <a:pt x="885698" y="936625"/>
                  <a:pt x="885698" y="936625"/>
                </a:cubicBezTo>
                <a:lnTo>
                  <a:pt x="0" y="936625"/>
                </a:ln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0F4536EB-8E6D-1D62-C2FF-741D9E4B1F56}"/>
              </a:ext>
            </a:extLst>
          </p:cNvPr>
          <p:cNvSpPr>
            <a:spLocks noGrp="1"/>
          </p:cNvSpPr>
          <p:nvPr>
            <p:ph type="body" sz="quarter" idx="18"/>
          </p:nvPr>
        </p:nvSpPr>
        <p:spPr>
          <a:xfrm>
            <a:off x="6536563" y="635000"/>
            <a:ext cx="1328547" cy="936625"/>
          </a:xfrm>
          <a:custGeom>
            <a:avLst/>
            <a:gdLst>
              <a:gd name="connsiteX0" fmla="*/ 0 w 1328547"/>
              <a:gd name="connsiteY0" fmla="*/ 0 h 936625"/>
              <a:gd name="connsiteX1" fmla="*/ 885698 w 1328547"/>
              <a:gd name="connsiteY1" fmla="*/ 0 h 936625"/>
              <a:gd name="connsiteX2" fmla="*/ 1328547 w 1328547"/>
              <a:gd name="connsiteY2" fmla="*/ 936625 h 936625"/>
              <a:gd name="connsiteX3" fmla="*/ 442849 w 1328547"/>
              <a:gd name="connsiteY3" fmla="*/ 936625 h 936625"/>
              <a:gd name="connsiteX4" fmla="*/ 0 w 1328547"/>
              <a:gd name="connsiteY4" fmla="*/ 0 h 93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547" h="936625">
                <a:moveTo>
                  <a:pt x="0" y="0"/>
                </a:moveTo>
                <a:lnTo>
                  <a:pt x="885698" y="0"/>
                </a:lnTo>
                <a:lnTo>
                  <a:pt x="1328547" y="936625"/>
                </a:lnTo>
                <a:lnTo>
                  <a:pt x="442849" y="936625"/>
                </a:lnTo>
                <a:cubicBezTo>
                  <a:pt x="442849" y="936625"/>
                  <a:pt x="0" y="0"/>
                  <a:pt x="0" y="0"/>
                </a:cubicBez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4" name="Text Placeholder 33">
            <a:extLst>
              <a:ext uri="{FF2B5EF4-FFF2-40B4-BE49-F238E27FC236}">
                <a16:creationId xmlns:a16="http://schemas.microsoft.com/office/drawing/2014/main" id="{FF9B5E4E-19ED-3962-BB80-62C1D1A6B9AA}"/>
              </a:ext>
            </a:extLst>
          </p:cNvPr>
          <p:cNvSpPr>
            <a:spLocks noGrp="1"/>
          </p:cNvSpPr>
          <p:nvPr>
            <p:ph type="body" sz="quarter" idx="19"/>
          </p:nvPr>
        </p:nvSpPr>
        <p:spPr>
          <a:xfrm>
            <a:off x="8160829" y="5142166"/>
            <a:ext cx="1534858" cy="1083247"/>
          </a:xfrm>
          <a:custGeom>
            <a:avLst/>
            <a:gdLst>
              <a:gd name="connsiteX0" fmla="*/ 514032 w 1534858"/>
              <a:gd name="connsiteY0" fmla="*/ 0 h 1083247"/>
              <a:gd name="connsiteX1" fmla="*/ 1534858 w 1534858"/>
              <a:gd name="connsiteY1" fmla="*/ 0 h 1083247"/>
              <a:gd name="connsiteX2" fmla="*/ 1022159 w 1534858"/>
              <a:gd name="connsiteY2" fmla="*/ 1080707 h 1083247"/>
              <a:gd name="connsiteX3" fmla="*/ 0 w 1534858"/>
              <a:gd name="connsiteY3" fmla="*/ 1083247 h 1083247"/>
              <a:gd name="connsiteX4" fmla="*/ 514032 w 1534858"/>
              <a:gd name="connsiteY4" fmla="*/ 64 h 1083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858" h="1083247">
                <a:moveTo>
                  <a:pt x="514032" y="0"/>
                </a:moveTo>
                <a:lnTo>
                  <a:pt x="1534858" y="0"/>
                </a:lnTo>
                <a:lnTo>
                  <a:pt x="1022159" y="1080707"/>
                </a:lnTo>
                <a:lnTo>
                  <a:pt x="0" y="1083247"/>
                </a:lnTo>
                <a:lnTo>
                  <a:pt x="514032" y="64"/>
                </a:lnTo>
                <a:close/>
              </a:path>
            </a:pathLst>
          </a:custGeom>
          <a:solidFill>
            <a:schemeClr val="accent6">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34">
            <a:extLst>
              <a:ext uri="{FF2B5EF4-FFF2-40B4-BE49-F238E27FC236}">
                <a16:creationId xmlns:a16="http://schemas.microsoft.com/office/drawing/2014/main" id="{E0F68770-2220-C533-58D1-B508958AAC32}"/>
              </a:ext>
            </a:extLst>
          </p:cNvPr>
          <p:cNvSpPr>
            <a:spLocks noGrp="1"/>
          </p:cNvSpPr>
          <p:nvPr>
            <p:ph type="body" sz="quarter" idx="16"/>
          </p:nvPr>
        </p:nvSpPr>
        <p:spPr>
          <a:xfrm>
            <a:off x="8674798" y="5142228"/>
            <a:ext cx="1528826" cy="1080770"/>
          </a:xfrm>
          <a:custGeom>
            <a:avLst/>
            <a:gdLst>
              <a:gd name="connsiteX0" fmla="*/ 0 w 1528826"/>
              <a:gd name="connsiteY0" fmla="*/ 0 h 1080770"/>
              <a:gd name="connsiteX1" fmla="*/ 1020763 w 1528826"/>
              <a:gd name="connsiteY1" fmla="*/ 0 h 1080770"/>
              <a:gd name="connsiteX2" fmla="*/ 1528826 w 1528826"/>
              <a:gd name="connsiteY2" fmla="*/ 1080770 h 1080770"/>
              <a:gd name="connsiteX3" fmla="*/ 508064 w 1528826"/>
              <a:gd name="connsiteY3" fmla="*/ 1080770 h 1080770"/>
            </a:gdLst>
            <a:ahLst/>
            <a:cxnLst>
              <a:cxn ang="0">
                <a:pos x="connsiteX0" y="connsiteY0"/>
              </a:cxn>
              <a:cxn ang="0">
                <a:pos x="connsiteX1" y="connsiteY1"/>
              </a:cxn>
              <a:cxn ang="0">
                <a:pos x="connsiteX2" y="connsiteY2"/>
              </a:cxn>
              <a:cxn ang="0">
                <a:pos x="connsiteX3" y="connsiteY3"/>
              </a:cxn>
            </a:cxnLst>
            <a:rect l="l" t="t" r="r" b="b"/>
            <a:pathLst>
              <a:path w="1528826" h="1080770">
                <a:moveTo>
                  <a:pt x="0" y="0"/>
                </a:moveTo>
                <a:lnTo>
                  <a:pt x="1020763" y="0"/>
                </a:lnTo>
                <a:cubicBezTo>
                  <a:pt x="1020763" y="0"/>
                  <a:pt x="1528826" y="1080770"/>
                  <a:pt x="1528826" y="1080770"/>
                </a:cubicBezTo>
                <a:lnTo>
                  <a:pt x="508064" y="1080770"/>
                </a:ln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AC8C855E-6D49-5452-2AF3-B7E4410E2DA9}"/>
              </a:ext>
            </a:extLst>
          </p:cNvPr>
          <p:cNvSpPr>
            <a:spLocks noGrp="1" noChangeAspect="1"/>
          </p:cNvSpPr>
          <p:nvPr>
            <p:ph type="pic" sz="quarter" idx="14" hasCustomPrompt="1"/>
          </p:nvPr>
        </p:nvSpPr>
        <p:spPr>
          <a:xfrm>
            <a:off x="4777232" y="634999"/>
            <a:ext cx="7414768" cy="5588000"/>
          </a:xfrm>
          <a:custGeom>
            <a:avLst/>
            <a:gdLst>
              <a:gd name="connsiteX0" fmla="*/ 2645029 w 7414768"/>
              <a:gd name="connsiteY0" fmla="*/ 0 h 5588000"/>
              <a:gd name="connsiteX1" fmla="*/ 7414768 w 7414768"/>
              <a:gd name="connsiteY1" fmla="*/ 0 h 5588000"/>
              <a:gd name="connsiteX2" fmla="*/ 7414768 w 7414768"/>
              <a:gd name="connsiteY2" fmla="*/ 5588000 h 5588000"/>
              <a:gd name="connsiteX3" fmla="*/ 0 w 7414768"/>
              <a:gd name="connsiteY3" fmla="*/ 5588000 h 5588000"/>
            </a:gdLst>
            <a:ahLst/>
            <a:cxnLst>
              <a:cxn ang="0">
                <a:pos x="connsiteX0" y="connsiteY0"/>
              </a:cxn>
              <a:cxn ang="0">
                <a:pos x="connsiteX1" y="connsiteY1"/>
              </a:cxn>
              <a:cxn ang="0">
                <a:pos x="connsiteX2" y="connsiteY2"/>
              </a:cxn>
              <a:cxn ang="0">
                <a:pos x="connsiteX3" y="connsiteY3"/>
              </a:cxn>
            </a:cxnLst>
            <a:rect l="l" t="t" r="r" b="b"/>
            <a:pathLst>
              <a:path w="7414768" h="5588000">
                <a:moveTo>
                  <a:pt x="2645029" y="0"/>
                </a:moveTo>
                <a:lnTo>
                  <a:pt x="7414768" y="0"/>
                </a:lnTo>
                <a:lnTo>
                  <a:pt x="7414768" y="5588000"/>
                </a:lnTo>
                <a:lnTo>
                  <a:pt x="0" y="5588000"/>
                </a:lnTo>
                <a:close/>
              </a:path>
            </a:pathLst>
          </a:custGeom>
          <a:solidFill>
            <a:schemeClr val="bg1">
              <a:lumMod val="75000"/>
            </a:schemeClr>
          </a:solidFill>
        </p:spPr>
        <p:txBody>
          <a:bodyPr wrap="square" lIns="4320000" tIns="288000" rIns="360000" bIns="360000" anchor="t" anchorCtr="0">
            <a:noAutofit/>
          </a:bodyPr>
          <a:lstStyle>
            <a:lvl1pPr algn="r">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3" name="Free-form: Shape 12">
            <a:extLst>
              <a:ext uri="{FF2B5EF4-FFF2-40B4-BE49-F238E27FC236}">
                <a16:creationId xmlns:a16="http://schemas.microsoft.com/office/drawing/2014/main" id="{A6833558-9D2F-590E-6A07-68442D157548}"/>
              </a:ext>
            </a:extLst>
          </p:cNvPr>
          <p:cNvSpPr/>
          <p:nvPr/>
        </p:nvSpPr>
        <p:spPr>
          <a:xfrm>
            <a:off x="0" y="635000"/>
            <a:ext cx="7422260" cy="5588000"/>
          </a:xfrm>
          <a:custGeom>
            <a:avLst/>
            <a:gdLst>
              <a:gd name="connsiteX0" fmla="*/ 0 w 7422260"/>
              <a:gd name="connsiteY0" fmla="*/ 5588000 h 5588000"/>
              <a:gd name="connsiteX1" fmla="*/ 4777232 w 7422260"/>
              <a:gd name="connsiteY1" fmla="*/ 5588000 h 5588000"/>
              <a:gd name="connsiteX2" fmla="*/ 7422261 w 7422260"/>
              <a:gd name="connsiteY2" fmla="*/ 0 h 5588000"/>
              <a:gd name="connsiteX3" fmla="*/ 0 w 7422260"/>
              <a:gd name="connsiteY3" fmla="*/ 0 h 5588000"/>
              <a:gd name="connsiteX4" fmla="*/ 0 w 7422260"/>
              <a:gd name="connsiteY4" fmla="*/ 5588000 h 55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2260" h="5588000">
                <a:moveTo>
                  <a:pt x="0" y="5588000"/>
                </a:moveTo>
                <a:lnTo>
                  <a:pt x="4777232" y="5588000"/>
                </a:lnTo>
                <a:lnTo>
                  <a:pt x="7422261" y="0"/>
                </a:lnTo>
                <a:lnTo>
                  <a:pt x="0" y="0"/>
                </a:lnTo>
                <a:lnTo>
                  <a:pt x="0" y="5588000"/>
                </a:lnTo>
                <a:close/>
              </a:path>
            </a:pathLst>
          </a:custGeom>
          <a:solidFill>
            <a:schemeClr val="accent6"/>
          </a:solidFill>
          <a:ln w="6350" cap="flat">
            <a:noFill/>
            <a:prstDash val="solid"/>
            <a:miter/>
          </a:ln>
        </p:spPr>
        <p:txBody>
          <a:bodyPr rtlCol="0" anchor="ctr"/>
          <a:lstStyle/>
          <a:p>
            <a:endParaRPr lang="en-AU"/>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643977" y="3176337"/>
            <a:ext cx="5040000" cy="1440000"/>
          </a:xfrm>
        </p:spPr>
        <p:txBody>
          <a:bodyPr/>
          <a:lstStyle>
            <a:lvl1pPr marL="0" indent="0" algn="l">
              <a:buNone/>
              <a:defRPr sz="2300" b="0">
                <a:solidFill>
                  <a:schemeClr val="bg1"/>
                </a:solidFill>
              </a:defRPr>
            </a:lvl1pPr>
            <a:lvl2pPr marL="0" indent="0" algn="l">
              <a:buNone/>
              <a:defRPr sz="2300" b="0">
                <a:solidFill>
                  <a:schemeClr val="accent3"/>
                </a:solidFill>
              </a:defRPr>
            </a:lvl2pPr>
            <a:lvl3pPr marL="0" indent="0" algn="l">
              <a:buNone/>
              <a:defRPr sz="2300" b="0">
                <a:solidFill>
                  <a:schemeClr val="bg1"/>
                </a:solidFill>
              </a:defRPr>
            </a:lvl3pPr>
            <a:lvl4pPr marL="0" indent="0" algn="l">
              <a:buNone/>
              <a:defRPr sz="2300" b="0">
                <a:solidFill>
                  <a:schemeClr val="bg1"/>
                </a:solidFill>
              </a:defRPr>
            </a:lvl4pPr>
            <a:lvl5pPr marL="0" indent="0" algn="l">
              <a:buNone/>
              <a:defRPr sz="2300" b="0">
                <a:solidFill>
                  <a:schemeClr val="bg1"/>
                </a:solidFill>
              </a:defRPr>
            </a:lvl5pPr>
            <a:lvl6pPr marL="0" indent="0" algn="l">
              <a:buNone/>
              <a:defRPr sz="2300" b="0">
                <a:solidFill>
                  <a:schemeClr val="bg1"/>
                </a:solidFill>
              </a:defRPr>
            </a:lvl6pPr>
            <a:lvl7pPr marL="0" indent="0" algn="l">
              <a:buNone/>
              <a:defRPr sz="2300" b="0">
                <a:solidFill>
                  <a:schemeClr val="bg1"/>
                </a:solidFill>
              </a:defRPr>
            </a:lvl7pPr>
            <a:lvl8pPr marL="0" indent="0" algn="l">
              <a:buNone/>
              <a:defRPr sz="2300" b="0">
                <a:solidFill>
                  <a:schemeClr val="bg1"/>
                </a:solidFill>
              </a:defRPr>
            </a:lvl8pPr>
            <a:lvl9pPr marL="0" indent="0" algn="l">
              <a:buNone/>
              <a:defRPr sz="2300"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647699" y="2011612"/>
            <a:ext cx="5040000" cy="1080000"/>
          </a:xfrm>
        </p:spPr>
        <p:txBody>
          <a:bodyPr anchor="b" anchorCtr="0"/>
          <a:lstStyle>
            <a:lvl1pPr>
              <a:defRPr sz="3100">
                <a:solidFill>
                  <a:schemeClr val="bg1"/>
                </a:solidFill>
              </a:defRPr>
            </a:lvl1pPr>
          </a:lstStyle>
          <a:p>
            <a:r>
              <a:rPr lang="en-US" dirty="0"/>
              <a:t>Section Header</a:t>
            </a:r>
            <a:endParaRPr lang="en-GB" dirty="0"/>
          </a:p>
        </p:txBody>
      </p:sp>
      <p:sp>
        <p:nvSpPr>
          <p:cNvPr id="12" name="Free-form: Shape 11">
            <a:extLst>
              <a:ext uri="{FF2B5EF4-FFF2-40B4-BE49-F238E27FC236}">
                <a16:creationId xmlns:a16="http://schemas.microsoft.com/office/drawing/2014/main" id="{46A622D3-ACA9-C40F-E4FC-7C7DA829AD89}"/>
              </a:ext>
            </a:extLst>
          </p:cNvPr>
          <p:cNvSpPr/>
          <p:nvPr/>
        </p:nvSpPr>
        <p:spPr>
          <a:xfrm>
            <a:off x="7422324" y="0"/>
            <a:ext cx="1185227" cy="635000"/>
          </a:xfrm>
          <a:custGeom>
            <a:avLst/>
            <a:gdLst>
              <a:gd name="connsiteX0" fmla="*/ 300228 w 1185227"/>
              <a:gd name="connsiteY0" fmla="*/ 0 h 635000"/>
              <a:gd name="connsiteX1" fmla="*/ 0 w 1185227"/>
              <a:gd name="connsiteY1" fmla="*/ 635000 h 635000"/>
              <a:gd name="connsiteX2" fmla="*/ 885698 w 1185227"/>
              <a:gd name="connsiteY2" fmla="*/ 635000 h 635000"/>
              <a:gd name="connsiteX3" fmla="*/ 1185228 w 1185227"/>
              <a:gd name="connsiteY3" fmla="*/ 0 h 635000"/>
              <a:gd name="connsiteX4" fmla="*/ 300228 w 1185227"/>
              <a:gd name="connsiteY4" fmla="*/ 0 h 6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27" h="635000">
                <a:moveTo>
                  <a:pt x="300228" y="0"/>
                </a:moveTo>
                <a:lnTo>
                  <a:pt x="0" y="635000"/>
                </a:lnTo>
                <a:lnTo>
                  <a:pt x="885698" y="635000"/>
                </a:lnTo>
                <a:cubicBezTo>
                  <a:pt x="885698" y="635000"/>
                  <a:pt x="1185228" y="0"/>
                  <a:pt x="1185228" y="0"/>
                </a:cubicBezTo>
                <a:lnTo>
                  <a:pt x="300228" y="0"/>
                </a:lnTo>
                <a:close/>
              </a:path>
            </a:pathLst>
          </a:custGeom>
          <a:solidFill>
            <a:srgbClr val="CDDB00"/>
          </a:solidFill>
          <a:ln w="635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132F4E9-A47A-DFCF-A30E-0DF06ABFF4EC}"/>
              </a:ext>
            </a:extLst>
          </p:cNvPr>
          <p:cNvSpPr/>
          <p:nvPr/>
        </p:nvSpPr>
        <p:spPr>
          <a:xfrm>
            <a:off x="7860283" y="6222936"/>
            <a:ext cx="1322641" cy="635127"/>
          </a:xfrm>
          <a:custGeom>
            <a:avLst/>
            <a:gdLst>
              <a:gd name="connsiteX0" fmla="*/ 1322642 w 1322641"/>
              <a:gd name="connsiteY0" fmla="*/ 0 h 635127"/>
              <a:gd name="connsiteX1" fmla="*/ 300482 w 1322641"/>
              <a:gd name="connsiteY1" fmla="*/ 2540 h 635127"/>
              <a:gd name="connsiteX2" fmla="*/ 0 w 1322641"/>
              <a:gd name="connsiteY2" fmla="*/ 635127 h 635127"/>
              <a:gd name="connsiteX3" fmla="*/ 1021080 w 1322641"/>
              <a:gd name="connsiteY3" fmla="*/ 635127 h 635127"/>
              <a:gd name="connsiteX4" fmla="*/ 1322578 w 1322641"/>
              <a:gd name="connsiteY4" fmla="*/ 64 h 63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641" h="635127">
                <a:moveTo>
                  <a:pt x="1322642" y="0"/>
                </a:moveTo>
                <a:lnTo>
                  <a:pt x="300482" y="2540"/>
                </a:lnTo>
                <a:lnTo>
                  <a:pt x="0" y="635127"/>
                </a:lnTo>
                <a:lnTo>
                  <a:pt x="1021080" y="635127"/>
                </a:lnTo>
                <a:lnTo>
                  <a:pt x="1322578" y="64"/>
                </a:lnTo>
                <a:close/>
              </a:path>
            </a:pathLst>
          </a:custGeom>
          <a:solidFill>
            <a:schemeClr val="tx2"/>
          </a:solidFill>
          <a:ln w="635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6A699EE-32B6-DF42-B15C-A2EB2445DBF7}"/>
              </a:ext>
            </a:extLst>
          </p:cNvPr>
          <p:cNvSpPr/>
          <p:nvPr/>
        </p:nvSpPr>
        <p:spPr>
          <a:xfrm>
            <a:off x="7865109" y="635000"/>
            <a:ext cx="442848" cy="936625"/>
          </a:xfrm>
          <a:custGeom>
            <a:avLst/>
            <a:gdLst>
              <a:gd name="connsiteX0" fmla="*/ 442849 w 442848"/>
              <a:gd name="connsiteY0" fmla="*/ 0 h 936625"/>
              <a:gd name="connsiteX1" fmla="*/ 0 w 442848"/>
              <a:gd name="connsiteY1" fmla="*/ 936625 h 936625"/>
            </a:gdLst>
            <a:ahLst/>
            <a:cxnLst>
              <a:cxn ang="0">
                <a:pos x="connsiteX0" y="connsiteY0"/>
              </a:cxn>
              <a:cxn ang="0">
                <a:pos x="connsiteX1" y="connsiteY1"/>
              </a:cxn>
            </a:cxnLst>
            <a:rect l="l" t="t" r="r" b="b"/>
            <a:pathLst>
              <a:path w="442848" h="936625">
                <a:moveTo>
                  <a:pt x="442849" y="0"/>
                </a:moveTo>
                <a:lnTo>
                  <a:pt x="0" y="936625"/>
                </a:lnTo>
              </a:path>
            </a:pathLst>
          </a:custGeom>
          <a:solidFill>
            <a:srgbClr val="FFFFFF"/>
          </a:solidFill>
          <a:ln w="6350" cap="flat">
            <a:noFill/>
            <a:prstDash val="solid"/>
            <a:miter/>
          </a:ln>
        </p:spPr>
        <p:txBody>
          <a:bodyPr rtlCol="0" anchor="ctr"/>
          <a:lstStyle/>
          <a:p>
            <a:endParaRPr lang="en-AU"/>
          </a:p>
        </p:txBody>
      </p:sp>
      <p:sp>
        <p:nvSpPr>
          <p:cNvPr id="21" name="Date Placeholder 3">
            <a:extLst>
              <a:ext uri="{FF2B5EF4-FFF2-40B4-BE49-F238E27FC236}">
                <a16:creationId xmlns:a16="http://schemas.microsoft.com/office/drawing/2014/main" id="{A591062E-F0A2-F145-9596-91D65AA7717A}"/>
              </a:ext>
            </a:extLst>
          </p:cNvPr>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39322CC3-9547-4D10-B025-0458666A2603}" type="datetime1">
              <a:rPr lang="en-GB" smtClean="0"/>
              <a:t>31/07/2023</a:t>
            </a:fld>
            <a:endParaRPr lang="en-GB"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23" name="Slide Number Placeholder 5">
            <a:extLst>
              <a:ext uri="{FF2B5EF4-FFF2-40B4-BE49-F238E27FC236}">
                <a16:creationId xmlns:a16="http://schemas.microsoft.com/office/drawing/2014/main" id="{C903D72C-DFD6-E8D3-917D-CD26FF3DBA8F}"/>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6A2A799F-8F7A-5A2E-D0E0-255E6412E18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836526B3-0C3D-620A-284C-4E10B42279C4}"/>
              </a:ext>
            </a:extLst>
          </p:cNvPr>
          <p:cNvSpPr>
            <a:spLocks noGrp="1"/>
          </p:cNvSpPr>
          <p:nvPr>
            <p:ph type="body" sz="quarter" idx="15"/>
          </p:nvPr>
        </p:nvSpPr>
        <p:spPr>
          <a:xfrm>
            <a:off x="7422259" y="635000"/>
            <a:ext cx="885698" cy="936625"/>
          </a:xfrm>
          <a:custGeom>
            <a:avLst/>
            <a:gdLst>
              <a:gd name="connsiteX0" fmla="*/ 0 w 885698"/>
              <a:gd name="connsiteY0" fmla="*/ 0 h 936625"/>
              <a:gd name="connsiteX1" fmla="*/ 885698 w 885698"/>
              <a:gd name="connsiteY1" fmla="*/ 0 h 936625"/>
              <a:gd name="connsiteX2" fmla="*/ 442849 w 885698"/>
              <a:gd name="connsiteY2" fmla="*/ 936625 h 936625"/>
              <a:gd name="connsiteX3" fmla="*/ 0 w 885698"/>
              <a:gd name="connsiteY3" fmla="*/ 0 h 936625"/>
            </a:gdLst>
            <a:ahLst/>
            <a:cxnLst>
              <a:cxn ang="0">
                <a:pos x="connsiteX0" y="connsiteY0"/>
              </a:cxn>
              <a:cxn ang="0">
                <a:pos x="connsiteX1" y="connsiteY1"/>
              </a:cxn>
              <a:cxn ang="0">
                <a:pos x="connsiteX2" y="connsiteY2"/>
              </a:cxn>
              <a:cxn ang="0">
                <a:pos x="connsiteX3" y="connsiteY3"/>
              </a:cxn>
            </a:cxnLst>
            <a:rect l="l" t="t" r="r" b="b"/>
            <a:pathLst>
              <a:path w="885698" h="936625">
                <a:moveTo>
                  <a:pt x="0" y="0"/>
                </a:moveTo>
                <a:lnTo>
                  <a:pt x="885698" y="0"/>
                </a:lnTo>
                <a:lnTo>
                  <a:pt x="442849" y="936625"/>
                </a:lnTo>
                <a:cubicBezTo>
                  <a:pt x="442849" y="936625"/>
                  <a:pt x="0" y="0"/>
                  <a:pt x="0" y="0"/>
                </a:cubicBez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9" name="Text Placeholder 28">
            <a:extLst>
              <a:ext uri="{FF2B5EF4-FFF2-40B4-BE49-F238E27FC236}">
                <a16:creationId xmlns:a16="http://schemas.microsoft.com/office/drawing/2014/main" id="{EC59A0FD-3266-9C20-CA11-E79AA49761E5}"/>
              </a:ext>
            </a:extLst>
          </p:cNvPr>
          <p:cNvSpPr>
            <a:spLocks noGrp="1"/>
          </p:cNvSpPr>
          <p:nvPr>
            <p:ph type="body" sz="quarter" idx="17"/>
          </p:nvPr>
        </p:nvSpPr>
        <p:spPr>
          <a:xfrm>
            <a:off x="6979411" y="635000"/>
            <a:ext cx="885698" cy="936625"/>
          </a:xfrm>
          <a:custGeom>
            <a:avLst/>
            <a:gdLst>
              <a:gd name="connsiteX0" fmla="*/ 442849 w 885698"/>
              <a:gd name="connsiteY0" fmla="*/ 0 h 936625"/>
              <a:gd name="connsiteX1" fmla="*/ 885698 w 885698"/>
              <a:gd name="connsiteY1" fmla="*/ 936625 h 936625"/>
              <a:gd name="connsiteX2" fmla="*/ 0 w 885698"/>
              <a:gd name="connsiteY2" fmla="*/ 936625 h 936625"/>
            </a:gdLst>
            <a:ahLst/>
            <a:cxnLst>
              <a:cxn ang="0">
                <a:pos x="connsiteX0" y="connsiteY0"/>
              </a:cxn>
              <a:cxn ang="0">
                <a:pos x="connsiteX1" y="connsiteY1"/>
              </a:cxn>
              <a:cxn ang="0">
                <a:pos x="connsiteX2" y="connsiteY2"/>
              </a:cxn>
            </a:cxnLst>
            <a:rect l="l" t="t" r="r" b="b"/>
            <a:pathLst>
              <a:path w="885698" h="936625">
                <a:moveTo>
                  <a:pt x="442849" y="0"/>
                </a:moveTo>
                <a:cubicBezTo>
                  <a:pt x="442849" y="0"/>
                  <a:pt x="885698" y="936625"/>
                  <a:pt x="885698" y="936625"/>
                </a:cubicBezTo>
                <a:lnTo>
                  <a:pt x="0" y="936625"/>
                </a:ln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0F4536EB-8E6D-1D62-C2FF-741D9E4B1F56}"/>
              </a:ext>
            </a:extLst>
          </p:cNvPr>
          <p:cNvSpPr>
            <a:spLocks noGrp="1"/>
          </p:cNvSpPr>
          <p:nvPr>
            <p:ph type="body" sz="quarter" idx="18"/>
          </p:nvPr>
        </p:nvSpPr>
        <p:spPr>
          <a:xfrm>
            <a:off x="6536563" y="635000"/>
            <a:ext cx="1328547" cy="936625"/>
          </a:xfrm>
          <a:custGeom>
            <a:avLst/>
            <a:gdLst>
              <a:gd name="connsiteX0" fmla="*/ 0 w 1328547"/>
              <a:gd name="connsiteY0" fmla="*/ 0 h 936625"/>
              <a:gd name="connsiteX1" fmla="*/ 885698 w 1328547"/>
              <a:gd name="connsiteY1" fmla="*/ 0 h 936625"/>
              <a:gd name="connsiteX2" fmla="*/ 1328547 w 1328547"/>
              <a:gd name="connsiteY2" fmla="*/ 936625 h 936625"/>
              <a:gd name="connsiteX3" fmla="*/ 442849 w 1328547"/>
              <a:gd name="connsiteY3" fmla="*/ 936625 h 936625"/>
              <a:gd name="connsiteX4" fmla="*/ 0 w 1328547"/>
              <a:gd name="connsiteY4" fmla="*/ 0 h 93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547" h="936625">
                <a:moveTo>
                  <a:pt x="0" y="0"/>
                </a:moveTo>
                <a:lnTo>
                  <a:pt x="885698" y="0"/>
                </a:lnTo>
                <a:lnTo>
                  <a:pt x="1328547" y="936625"/>
                </a:lnTo>
                <a:lnTo>
                  <a:pt x="442849" y="936625"/>
                </a:lnTo>
                <a:cubicBezTo>
                  <a:pt x="442849" y="936625"/>
                  <a:pt x="0" y="0"/>
                  <a:pt x="0" y="0"/>
                </a:cubicBez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4" name="Text Placeholder 33">
            <a:extLst>
              <a:ext uri="{FF2B5EF4-FFF2-40B4-BE49-F238E27FC236}">
                <a16:creationId xmlns:a16="http://schemas.microsoft.com/office/drawing/2014/main" id="{FF9B5E4E-19ED-3962-BB80-62C1D1A6B9AA}"/>
              </a:ext>
            </a:extLst>
          </p:cNvPr>
          <p:cNvSpPr>
            <a:spLocks noGrp="1"/>
          </p:cNvSpPr>
          <p:nvPr>
            <p:ph type="body" sz="quarter" idx="19"/>
          </p:nvPr>
        </p:nvSpPr>
        <p:spPr>
          <a:xfrm>
            <a:off x="8160829" y="5142166"/>
            <a:ext cx="1534858" cy="1083247"/>
          </a:xfrm>
          <a:custGeom>
            <a:avLst/>
            <a:gdLst>
              <a:gd name="connsiteX0" fmla="*/ 514032 w 1534858"/>
              <a:gd name="connsiteY0" fmla="*/ 0 h 1083247"/>
              <a:gd name="connsiteX1" fmla="*/ 1534858 w 1534858"/>
              <a:gd name="connsiteY1" fmla="*/ 0 h 1083247"/>
              <a:gd name="connsiteX2" fmla="*/ 1022159 w 1534858"/>
              <a:gd name="connsiteY2" fmla="*/ 1080707 h 1083247"/>
              <a:gd name="connsiteX3" fmla="*/ 0 w 1534858"/>
              <a:gd name="connsiteY3" fmla="*/ 1083247 h 1083247"/>
              <a:gd name="connsiteX4" fmla="*/ 514032 w 1534858"/>
              <a:gd name="connsiteY4" fmla="*/ 64 h 1083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858" h="1083247">
                <a:moveTo>
                  <a:pt x="514032" y="0"/>
                </a:moveTo>
                <a:lnTo>
                  <a:pt x="1534858" y="0"/>
                </a:lnTo>
                <a:lnTo>
                  <a:pt x="1022159" y="1080707"/>
                </a:lnTo>
                <a:lnTo>
                  <a:pt x="0" y="1083247"/>
                </a:lnTo>
                <a:lnTo>
                  <a:pt x="514032" y="64"/>
                </a:lnTo>
                <a:close/>
              </a:path>
            </a:pathLst>
          </a:custGeom>
          <a:solidFill>
            <a:schemeClr val="tx2">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34">
            <a:extLst>
              <a:ext uri="{FF2B5EF4-FFF2-40B4-BE49-F238E27FC236}">
                <a16:creationId xmlns:a16="http://schemas.microsoft.com/office/drawing/2014/main" id="{E0F68770-2220-C533-58D1-B508958AAC32}"/>
              </a:ext>
            </a:extLst>
          </p:cNvPr>
          <p:cNvSpPr>
            <a:spLocks noGrp="1"/>
          </p:cNvSpPr>
          <p:nvPr>
            <p:ph type="body" sz="quarter" idx="16"/>
          </p:nvPr>
        </p:nvSpPr>
        <p:spPr>
          <a:xfrm>
            <a:off x="8674798" y="5142228"/>
            <a:ext cx="1528826" cy="1080770"/>
          </a:xfrm>
          <a:custGeom>
            <a:avLst/>
            <a:gdLst>
              <a:gd name="connsiteX0" fmla="*/ 0 w 1528826"/>
              <a:gd name="connsiteY0" fmla="*/ 0 h 1080770"/>
              <a:gd name="connsiteX1" fmla="*/ 1020763 w 1528826"/>
              <a:gd name="connsiteY1" fmla="*/ 0 h 1080770"/>
              <a:gd name="connsiteX2" fmla="*/ 1528826 w 1528826"/>
              <a:gd name="connsiteY2" fmla="*/ 1080770 h 1080770"/>
              <a:gd name="connsiteX3" fmla="*/ 508064 w 1528826"/>
              <a:gd name="connsiteY3" fmla="*/ 1080770 h 1080770"/>
            </a:gdLst>
            <a:ahLst/>
            <a:cxnLst>
              <a:cxn ang="0">
                <a:pos x="connsiteX0" y="connsiteY0"/>
              </a:cxn>
              <a:cxn ang="0">
                <a:pos x="connsiteX1" y="connsiteY1"/>
              </a:cxn>
              <a:cxn ang="0">
                <a:pos x="connsiteX2" y="connsiteY2"/>
              </a:cxn>
              <a:cxn ang="0">
                <a:pos x="connsiteX3" y="connsiteY3"/>
              </a:cxn>
            </a:cxnLst>
            <a:rect l="l" t="t" r="r" b="b"/>
            <a:pathLst>
              <a:path w="1528826" h="1080770">
                <a:moveTo>
                  <a:pt x="0" y="0"/>
                </a:moveTo>
                <a:lnTo>
                  <a:pt x="1020763" y="0"/>
                </a:lnTo>
                <a:cubicBezTo>
                  <a:pt x="1020763" y="0"/>
                  <a:pt x="1528826" y="1080770"/>
                  <a:pt x="1528826" y="1080770"/>
                </a:cubicBezTo>
                <a:lnTo>
                  <a:pt x="508064" y="1080770"/>
                </a:ln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AC8C855E-6D49-5452-2AF3-B7E4410E2DA9}"/>
              </a:ext>
            </a:extLst>
          </p:cNvPr>
          <p:cNvSpPr>
            <a:spLocks noGrp="1" noChangeAspect="1"/>
          </p:cNvSpPr>
          <p:nvPr>
            <p:ph type="pic" sz="quarter" idx="14" hasCustomPrompt="1"/>
          </p:nvPr>
        </p:nvSpPr>
        <p:spPr>
          <a:xfrm>
            <a:off x="0" y="634999"/>
            <a:ext cx="12192000" cy="5588000"/>
          </a:xfrm>
          <a:prstGeom prst="rect">
            <a:avLst/>
          </a:prstGeom>
          <a:solidFill>
            <a:schemeClr val="bg1">
              <a:lumMod val="75000"/>
            </a:schemeClr>
          </a:solidFill>
        </p:spPr>
        <p:txBody>
          <a:bodyPr wrap="square" lIns="9216000" tIns="288000" rIns="360000" bIns="360000" anchor="t" anchorCtr="0">
            <a:noAutofit/>
          </a:bodyPr>
          <a:lstStyle>
            <a:lvl1pPr algn="r">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ext Placeholder 2">
            <a:extLst>
              <a:ext uri="{FF2B5EF4-FFF2-40B4-BE49-F238E27FC236}">
                <a16:creationId xmlns:a16="http://schemas.microsoft.com/office/drawing/2014/main" id="{2AAB867D-6AFD-D0B0-51BF-824903A7BBFD}"/>
              </a:ext>
            </a:extLst>
          </p:cNvPr>
          <p:cNvSpPr>
            <a:spLocks noGrp="1"/>
          </p:cNvSpPr>
          <p:nvPr>
            <p:ph type="body" sz="quarter" idx="20"/>
          </p:nvPr>
        </p:nvSpPr>
        <p:spPr>
          <a:xfrm>
            <a:off x="0" y="634999"/>
            <a:ext cx="7422261" cy="5588000"/>
          </a:xfrm>
          <a:custGeom>
            <a:avLst/>
            <a:gdLst>
              <a:gd name="connsiteX0" fmla="*/ 0 w 7422261"/>
              <a:gd name="connsiteY0" fmla="*/ 0 h 5588000"/>
              <a:gd name="connsiteX1" fmla="*/ 7422261 w 7422261"/>
              <a:gd name="connsiteY1" fmla="*/ 0 h 5588000"/>
              <a:gd name="connsiteX2" fmla="*/ 4777232 w 7422261"/>
              <a:gd name="connsiteY2" fmla="*/ 5588000 h 5588000"/>
              <a:gd name="connsiteX3" fmla="*/ 0 w 7422261"/>
              <a:gd name="connsiteY3" fmla="*/ 5588000 h 5588000"/>
            </a:gdLst>
            <a:ahLst/>
            <a:cxnLst>
              <a:cxn ang="0">
                <a:pos x="connsiteX0" y="connsiteY0"/>
              </a:cxn>
              <a:cxn ang="0">
                <a:pos x="connsiteX1" y="connsiteY1"/>
              </a:cxn>
              <a:cxn ang="0">
                <a:pos x="connsiteX2" y="connsiteY2"/>
              </a:cxn>
              <a:cxn ang="0">
                <a:pos x="connsiteX3" y="connsiteY3"/>
              </a:cxn>
            </a:cxnLst>
            <a:rect l="l" t="t" r="r" b="b"/>
            <a:pathLst>
              <a:path w="7422261" h="5588000">
                <a:moveTo>
                  <a:pt x="0" y="0"/>
                </a:moveTo>
                <a:lnTo>
                  <a:pt x="7422261" y="0"/>
                </a:lnTo>
                <a:lnTo>
                  <a:pt x="4777232" y="5588000"/>
                </a:lnTo>
                <a:lnTo>
                  <a:pt x="0" y="5588000"/>
                </a:lnTo>
                <a:close/>
              </a:path>
            </a:pathLst>
          </a:custGeom>
          <a:solidFill>
            <a:schemeClr val="tx2">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643977" y="3176337"/>
            <a:ext cx="5040000" cy="1440000"/>
          </a:xfrm>
        </p:spPr>
        <p:txBody>
          <a:bodyPr/>
          <a:lstStyle>
            <a:lvl1pPr marL="0" indent="0" algn="l">
              <a:buNone/>
              <a:defRPr sz="2300" b="0">
                <a:solidFill>
                  <a:schemeClr val="bg1"/>
                </a:solidFill>
              </a:defRPr>
            </a:lvl1pPr>
            <a:lvl2pPr marL="0" indent="0" algn="l">
              <a:buNone/>
              <a:defRPr sz="2300" b="0">
                <a:solidFill>
                  <a:schemeClr val="accent3"/>
                </a:solidFill>
              </a:defRPr>
            </a:lvl2pPr>
            <a:lvl3pPr marL="0" indent="0" algn="l">
              <a:buNone/>
              <a:defRPr sz="2300" b="0">
                <a:solidFill>
                  <a:schemeClr val="bg1"/>
                </a:solidFill>
              </a:defRPr>
            </a:lvl3pPr>
            <a:lvl4pPr marL="0" indent="0" algn="l">
              <a:buNone/>
              <a:defRPr sz="2300" b="0">
                <a:solidFill>
                  <a:schemeClr val="bg1"/>
                </a:solidFill>
              </a:defRPr>
            </a:lvl4pPr>
            <a:lvl5pPr marL="0" indent="0" algn="l">
              <a:buNone/>
              <a:defRPr sz="2300" b="0">
                <a:solidFill>
                  <a:schemeClr val="bg1"/>
                </a:solidFill>
              </a:defRPr>
            </a:lvl5pPr>
            <a:lvl6pPr marL="0" indent="0" algn="l">
              <a:buNone/>
              <a:defRPr sz="2300" b="0">
                <a:solidFill>
                  <a:schemeClr val="bg1"/>
                </a:solidFill>
              </a:defRPr>
            </a:lvl6pPr>
            <a:lvl7pPr marL="0" indent="0" algn="l">
              <a:buNone/>
              <a:defRPr sz="2300" b="0">
                <a:solidFill>
                  <a:schemeClr val="bg1"/>
                </a:solidFill>
              </a:defRPr>
            </a:lvl7pPr>
            <a:lvl8pPr marL="0" indent="0" algn="l">
              <a:buNone/>
              <a:defRPr sz="2300" b="0">
                <a:solidFill>
                  <a:schemeClr val="bg1"/>
                </a:solidFill>
              </a:defRPr>
            </a:lvl8pPr>
            <a:lvl9pPr marL="0" indent="0" algn="l">
              <a:buNone/>
              <a:defRPr sz="2300"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647699" y="2011612"/>
            <a:ext cx="5040000" cy="1080000"/>
          </a:xfrm>
        </p:spPr>
        <p:txBody>
          <a:bodyPr anchor="b" anchorCtr="0"/>
          <a:lstStyle>
            <a:lvl1pPr>
              <a:defRPr sz="3100">
                <a:solidFill>
                  <a:schemeClr val="bg1"/>
                </a:solidFill>
              </a:defRPr>
            </a:lvl1pPr>
          </a:lstStyle>
          <a:p>
            <a:r>
              <a:rPr lang="en-US" dirty="0"/>
              <a:t>Section Header</a:t>
            </a:r>
            <a:endParaRPr lang="en-GB" dirty="0"/>
          </a:p>
        </p:txBody>
      </p:sp>
      <p:sp>
        <p:nvSpPr>
          <p:cNvPr id="12" name="Free-form: Shape 11">
            <a:extLst>
              <a:ext uri="{FF2B5EF4-FFF2-40B4-BE49-F238E27FC236}">
                <a16:creationId xmlns:a16="http://schemas.microsoft.com/office/drawing/2014/main" id="{46A622D3-ACA9-C40F-E4FC-7C7DA829AD89}"/>
              </a:ext>
            </a:extLst>
          </p:cNvPr>
          <p:cNvSpPr/>
          <p:nvPr/>
        </p:nvSpPr>
        <p:spPr>
          <a:xfrm>
            <a:off x="7422324" y="0"/>
            <a:ext cx="1185227" cy="635000"/>
          </a:xfrm>
          <a:custGeom>
            <a:avLst/>
            <a:gdLst>
              <a:gd name="connsiteX0" fmla="*/ 300228 w 1185227"/>
              <a:gd name="connsiteY0" fmla="*/ 0 h 635000"/>
              <a:gd name="connsiteX1" fmla="*/ 0 w 1185227"/>
              <a:gd name="connsiteY1" fmla="*/ 635000 h 635000"/>
              <a:gd name="connsiteX2" fmla="*/ 885698 w 1185227"/>
              <a:gd name="connsiteY2" fmla="*/ 635000 h 635000"/>
              <a:gd name="connsiteX3" fmla="*/ 1185228 w 1185227"/>
              <a:gd name="connsiteY3" fmla="*/ 0 h 635000"/>
              <a:gd name="connsiteX4" fmla="*/ 300228 w 1185227"/>
              <a:gd name="connsiteY4" fmla="*/ 0 h 6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27" h="635000">
                <a:moveTo>
                  <a:pt x="300228" y="0"/>
                </a:moveTo>
                <a:lnTo>
                  <a:pt x="0" y="635000"/>
                </a:lnTo>
                <a:lnTo>
                  <a:pt x="885698" y="635000"/>
                </a:lnTo>
                <a:cubicBezTo>
                  <a:pt x="885698" y="635000"/>
                  <a:pt x="1185228" y="0"/>
                  <a:pt x="1185228" y="0"/>
                </a:cubicBezTo>
                <a:lnTo>
                  <a:pt x="300228" y="0"/>
                </a:lnTo>
                <a:close/>
              </a:path>
            </a:pathLst>
          </a:custGeom>
          <a:solidFill>
            <a:srgbClr val="CDDB00"/>
          </a:solidFill>
          <a:ln w="635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132F4E9-A47A-DFCF-A30E-0DF06ABFF4EC}"/>
              </a:ext>
            </a:extLst>
          </p:cNvPr>
          <p:cNvSpPr/>
          <p:nvPr/>
        </p:nvSpPr>
        <p:spPr>
          <a:xfrm>
            <a:off x="7860283" y="6222936"/>
            <a:ext cx="1322641" cy="635127"/>
          </a:xfrm>
          <a:custGeom>
            <a:avLst/>
            <a:gdLst>
              <a:gd name="connsiteX0" fmla="*/ 1322642 w 1322641"/>
              <a:gd name="connsiteY0" fmla="*/ 0 h 635127"/>
              <a:gd name="connsiteX1" fmla="*/ 300482 w 1322641"/>
              <a:gd name="connsiteY1" fmla="*/ 2540 h 635127"/>
              <a:gd name="connsiteX2" fmla="*/ 0 w 1322641"/>
              <a:gd name="connsiteY2" fmla="*/ 635127 h 635127"/>
              <a:gd name="connsiteX3" fmla="*/ 1021080 w 1322641"/>
              <a:gd name="connsiteY3" fmla="*/ 635127 h 635127"/>
              <a:gd name="connsiteX4" fmla="*/ 1322578 w 1322641"/>
              <a:gd name="connsiteY4" fmla="*/ 64 h 63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641" h="635127">
                <a:moveTo>
                  <a:pt x="1322642" y="0"/>
                </a:moveTo>
                <a:lnTo>
                  <a:pt x="300482" y="2540"/>
                </a:lnTo>
                <a:lnTo>
                  <a:pt x="0" y="635127"/>
                </a:lnTo>
                <a:lnTo>
                  <a:pt x="1021080" y="635127"/>
                </a:lnTo>
                <a:lnTo>
                  <a:pt x="1322578" y="64"/>
                </a:lnTo>
                <a:close/>
              </a:path>
            </a:pathLst>
          </a:custGeom>
          <a:solidFill>
            <a:schemeClr val="tx2"/>
          </a:solidFill>
          <a:ln w="635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6A699EE-32B6-DF42-B15C-A2EB2445DBF7}"/>
              </a:ext>
            </a:extLst>
          </p:cNvPr>
          <p:cNvSpPr/>
          <p:nvPr/>
        </p:nvSpPr>
        <p:spPr>
          <a:xfrm>
            <a:off x="7865109" y="635000"/>
            <a:ext cx="442848" cy="936625"/>
          </a:xfrm>
          <a:custGeom>
            <a:avLst/>
            <a:gdLst>
              <a:gd name="connsiteX0" fmla="*/ 442849 w 442848"/>
              <a:gd name="connsiteY0" fmla="*/ 0 h 936625"/>
              <a:gd name="connsiteX1" fmla="*/ 0 w 442848"/>
              <a:gd name="connsiteY1" fmla="*/ 936625 h 936625"/>
            </a:gdLst>
            <a:ahLst/>
            <a:cxnLst>
              <a:cxn ang="0">
                <a:pos x="connsiteX0" y="connsiteY0"/>
              </a:cxn>
              <a:cxn ang="0">
                <a:pos x="connsiteX1" y="connsiteY1"/>
              </a:cxn>
            </a:cxnLst>
            <a:rect l="l" t="t" r="r" b="b"/>
            <a:pathLst>
              <a:path w="442848" h="936625">
                <a:moveTo>
                  <a:pt x="442849" y="0"/>
                </a:moveTo>
                <a:lnTo>
                  <a:pt x="0" y="936625"/>
                </a:lnTo>
              </a:path>
            </a:pathLst>
          </a:custGeom>
          <a:solidFill>
            <a:srgbClr val="FFFFFF"/>
          </a:solidFill>
          <a:ln w="6350" cap="flat">
            <a:noFill/>
            <a:prstDash val="solid"/>
            <a:miter/>
          </a:ln>
        </p:spPr>
        <p:txBody>
          <a:bodyPr rtlCol="0" anchor="ctr"/>
          <a:lstStyle/>
          <a:p>
            <a:endParaRPr lang="en-AU"/>
          </a:p>
        </p:txBody>
      </p:sp>
      <p:sp>
        <p:nvSpPr>
          <p:cNvPr id="21" name="Date Placeholder 3">
            <a:extLst>
              <a:ext uri="{FF2B5EF4-FFF2-40B4-BE49-F238E27FC236}">
                <a16:creationId xmlns:a16="http://schemas.microsoft.com/office/drawing/2014/main" id="{A591062E-F0A2-F145-9596-91D65AA7717A}"/>
              </a:ext>
            </a:extLst>
          </p:cNvPr>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0FE91D01-948F-4B14-9EBD-02285A2D4D1F}" type="datetime1">
              <a:rPr lang="en-GB" smtClean="0"/>
              <a:t>31/07/2023</a:t>
            </a:fld>
            <a:endParaRPr lang="en-GB"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23" name="Slide Number Placeholder 5">
            <a:extLst>
              <a:ext uri="{FF2B5EF4-FFF2-40B4-BE49-F238E27FC236}">
                <a16:creationId xmlns:a16="http://schemas.microsoft.com/office/drawing/2014/main" id="{C903D72C-DFD6-E8D3-917D-CD26FF3DBA8F}"/>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6A2A799F-8F7A-5A2E-D0E0-255E6412E18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836526B3-0C3D-620A-284C-4E10B42279C4}"/>
              </a:ext>
            </a:extLst>
          </p:cNvPr>
          <p:cNvSpPr>
            <a:spLocks noGrp="1"/>
          </p:cNvSpPr>
          <p:nvPr>
            <p:ph type="body" sz="quarter" idx="15"/>
          </p:nvPr>
        </p:nvSpPr>
        <p:spPr>
          <a:xfrm>
            <a:off x="7422259" y="635000"/>
            <a:ext cx="885698" cy="936625"/>
          </a:xfrm>
          <a:custGeom>
            <a:avLst/>
            <a:gdLst>
              <a:gd name="connsiteX0" fmla="*/ 0 w 885698"/>
              <a:gd name="connsiteY0" fmla="*/ 0 h 936625"/>
              <a:gd name="connsiteX1" fmla="*/ 885698 w 885698"/>
              <a:gd name="connsiteY1" fmla="*/ 0 h 936625"/>
              <a:gd name="connsiteX2" fmla="*/ 442849 w 885698"/>
              <a:gd name="connsiteY2" fmla="*/ 936625 h 936625"/>
              <a:gd name="connsiteX3" fmla="*/ 0 w 885698"/>
              <a:gd name="connsiteY3" fmla="*/ 0 h 936625"/>
            </a:gdLst>
            <a:ahLst/>
            <a:cxnLst>
              <a:cxn ang="0">
                <a:pos x="connsiteX0" y="connsiteY0"/>
              </a:cxn>
              <a:cxn ang="0">
                <a:pos x="connsiteX1" y="connsiteY1"/>
              </a:cxn>
              <a:cxn ang="0">
                <a:pos x="connsiteX2" y="connsiteY2"/>
              </a:cxn>
              <a:cxn ang="0">
                <a:pos x="connsiteX3" y="connsiteY3"/>
              </a:cxn>
            </a:cxnLst>
            <a:rect l="l" t="t" r="r" b="b"/>
            <a:pathLst>
              <a:path w="885698" h="936625">
                <a:moveTo>
                  <a:pt x="0" y="0"/>
                </a:moveTo>
                <a:lnTo>
                  <a:pt x="885698" y="0"/>
                </a:lnTo>
                <a:lnTo>
                  <a:pt x="442849" y="936625"/>
                </a:lnTo>
                <a:cubicBezTo>
                  <a:pt x="442849" y="936625"/>
                  <a:pt x="0" y="0"/>
                  <a:pt x="0" y="0"/>
                </a:cubicBez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9" name="Text Placeholder 28">
            <a:extLst>
              <a:ext uri="{FF2B5EF4-FFF2-40B4-BE49-F238E27FC236}">
                <a16:creationId xmlns:a16="http://schemas.microsoft.com/office/drawing/2014/main" id="{EC59A0FD-3266-9C20-CA11-E79AA49761E5}"/>
              </a:ext>
            </a:extLst>
          </p:cNvPr>
          <p:cNvSpPr>
            <a:spLocks noGrp="1"/>
          </p:cNvSpPr>
          <p:nvPr>
            <p:ph type="body" sz="quarter" idx="17"/>
          </p:nvPr>
        </p:nvSpPr>
        <p:spPr>
          <a:xfrm>
            <a:off x="6979411" y="635000"/>
            <a:ext cx="885698" cy="936625"/>
          </a:xfrm>
          <a:custGeom>
            <a:avLst/>
            <a:gdLst>
              <a:gd name="connsiteX0" fmla="*/ 442849 w 885698"/>
              <a:gd name="connsiteY0" fmla="*/ 0 h 936625"/>
              <a:gd name="connsiteX1" fmla="*/ 885698 w 885698"/>
              <a:gd name="connsiteY1" fmla="*/ 936625 h 936625"/>
              <a:gd name="connsiteX2" fmla="*/ 0 w 885698"/>
              <a:gd name="connsiteY2" fmla="*/ 936625 h 936625"/>
            </a:gdLst>
            <a:ahLst/>
            <a:cxnLst>
              <a:cxn ang="0">
                <a:pos x="connsiteX0" y="connsiteY0"/>
              </a:cxn>
              <a:cxn ang="0">
                <a:pos x="connsiteX1" y="connsiteY1"/>
              </a:cxn>
              <a:cxn ang="0">
                <a:pos x="connsiteX2" y="connsiteY2"/>
              </a:cxn>
            </a:cxnLst>
            <a:rect l="l" t="t" r="r" b="b"/>
            <a:pathLst>
              <a:path w="885698" h="936625">
                <a:moveTo>
                  <a:pt x="442849" y="0"/>
                </a:moveTo>
                <a:cubicBezTo>
                  <a:pt x="442849" y="0"/>
                  <a:pt x="885698" y="936625"/>
                  <a:pt x="885698" y="936625"/>
                </a:cubicBezTo>
                <a:lnTo>
                  <a:pt x="0" y="936625"/>
                </a:lnTo>
                <a:close/>
              </a:path>
            </a:pathLst>
          </a:custGeom>
          <a:solidFill>
            <a:schemeClr val="accent1">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0F4536EB-8E6D-1D62-C2FF-741D9E4B1F56}"/>
              </a:ext>
            </a:extLst>
          </p:cNvPr>
          <p:cNvSpPr>
            <a:spLocks noGrp="1"/>
          </p:cNvSpPr>
          <p:nvPr>
            <p:ph type="body" sz="quarter" idx="18"/>
          </p:nvPr>
        </p:nvSpPr>
        <p:spPr>
          <a:xfrm>
            <a:off x="6536563" y="635000"/>
            <a:ext cx="1328547" cy="936625"/>
          </a:xfrm>
          <a:custGeom>
            <a:avLst/>
            <a:gdLst>
              <a:gd name="connsiteX0" fmla="*/ 0 w 1328547"/>
              <a:gd name="connsiteY0" fmla="*/ 0 h 936625"/>
              <a:gd name="connsiteX1" fmla="*/ 885698 w 1328547"/>
              <a:gd name="connsiteY1" fmla="*/ 0 h 936625"/>
              <a:gd name="connsiteX2" fmla="*/ 1328547 w 1328547"/>
              <a:gd name="connsiteY2" fmla="*/ 936625 h 936625"/>
              <a:gd name="connsiteX3" fmla="*/ 442849 w 1328547"/>
              <a:gd name="connsiteY3" fmla="*/ 936625 h 936625"/>
              <a:gd name="connsiteX4" fmla="*/ 0 w 1328547"/>
              <a:gd name="connsiteY4" fmla="*/ 0 h 93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547" h="936625">
                <a:moveTo>
                  <a:pt x="0" y="0"/>
                </a:moveTo>
                <a:lnTo>
                  <a:pt x="885698" y="0"/>
                </a:lnTo>
                <a:lnTo>
                  <a:pt x="1328547" y="936625"/>
                </a:lnTo>
                <a:lnTo>
                  <a:pt x="442849" y="936625"/>
                </a:lnTo>
                <a:cubicBezTo>
                  <a:pt x="442849" y="936625"/>
                  <a:pt x="0" y="0"/>
                  <a:pt x="0" y="0"/>
                </a:cubicBez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4" name="Text Placeholder 33">
            <a:extLst>
              <a:ext uri="{FF2B5EF4-FFF2-40B4-BE49-F238E27FC236}">
                <a16:creationId xmlns:a16="http://schemas.microsoft.com/office/drawing/2014/main" id="{FF9B5E4E-19ED-3962-BB80-62C1D1A6B9AA}"/>
              </a:ext>
            </a:extLst>
          </p:cNvPr>
          <p:cNvSpPr>
            <a:spLocks noGrp="1"/>
          </p:cNvSpPr>
          <p:nvPr>
            <p:ph type="body" sz="quarter" idx="19"/>
          </p:nvPr>
        </p:nvSpPr>
        <p:spPr>
          <a:xfrm>
            <a:off x="8160829" y="5142166"/>
            <a:ext cx="1534858" cy="1083247"/>
          </a:xfrm>
          <a:custGeom>
            <a:avLst/>
            <a:gdLst>
              <a:gd name="connsiteX0" fmla="*/ 514032 w 1534858"/>
              <a:gd name="connsiteY0" fmla="*/ 0 h 1083247"/>
              <a:gd name="connsiteX1" fmla="*/ 1534858 w 1534858"/>
              <a:gd name="connsiteY1" fmla="*/ 0 h 1083247"/>
              <a:gd name="connsiteX2" fmla="*/ 1022159 w 1534858"/>
              <a:gd name="connsiteY2" fmla="*/ 1080707 h 1083247"/>
              <a:gd name="connsiteX3" fmla="*/ 0 w 1534858"/>
              <a:gd name="connsiteY3" fmla="*/ 1083247 h 1083247"/>
              <a:gd name="connsiteX4" fmla="*/ 514032 w 1534858"/>
              <a:gd name="connsiteY4" fmla="*/ 64 h 1083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858" h="1083247">
                <a:moveTo>
                  <a:pt x="514032" y="0"/>
                </a:moveTo>
                <a:lnTo>
                  <a:pt x="1534858" y="0"/>
                </a:lnTo>
                <a:lnTo>
                  <a:pt x="1022159" y="1080707"/>
                </a:lnTo>
                <a:lnTo>
                  <a:pt x="0" y="1083247"/>
                </a:lnTo>
                <a:lnTo>
                  <a:pt x="514032" y="64"/>
                </a:lnTo>
                <a:close/>
              </a:path>
            </a:pathLst>
          </a:custGeom>
          <a:solidFill>
            <a:schemeClr val="tx2">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34">
            <a:extLst>
              <a:ext uri="{FF2B5EF4-FFF2-40B4-BE49-F238E27FC236}">
                <a16:creationId xmlns:a16="http://schemas.microsoft.com/office/drawing/2014/main" id="{E0F68770-2220-C533-58D1-B508958AAC32}"/>
              </a:ext>
            </a:extLst>
          </p:cNvPr>
          <p:cNvSpPr>
            <a:spLocks noGrp="1"/>
          </p:cNvSpPr>
          <p:nvPr>
            <p:ph type="body" sz="quarter" idx="16"/>
          </p:nvPr>
        </p:nvSpPr>
        <p:spPr>
          <a:xfrm>
            <a:off x="8674798" y="5142228"/>
            <a:ext cx="1528826" cy="1080770"/>
          </a:xfrm>
          <a:custGeom>
            <a:avLst/>
            <a:gdLst>
              <a:gd name="connsiteX0" fmla="*/ 0 w 1528826"/>
              <a:gd name="connsiteY0" fmla="*/ 0 h 1080770"/>
              <a:gd name="connsiteX1" fmla="*/ 1020763 w 1528826"/>
              <a:gd name="connsiteY1" fmla="*/ 0 h 1080770"/>
              <a:gd name="connsiteX2" fmla="*/ 1528826 w 1528826"/>
              <a:gd name="connsiteY2" fmla="*/ 1080770 h 1080770"/>
              <a:gd name="connsiteX3" fmla="*/ 508064 w 1528826"/>
              <a:gd name="connsiteY3" fmla="*/ 1080770 h 1080770"/>
            </a:gdLst>
            <a:ahLst/>
            <a:cxnLst>
              <a:cxn ang="0">
                <a:pos x="connsiteX0" y="connsiteY0"/>
              </a:cxn>
              <a:cxn ang="0">
                <a:pos x="connsiteX1" y="connsiteY1"/>
              </a:cxn>
              <a:cxn ang="0">
                <a:pos x="connsiteX2" y="connsiteY2"/>
              </a:cxn>
              <a:cxn ang="0">
                <a:pos x="connsiteX3" y="connsiteY3"/>
              </a:cxn>
            </a:cxnLst>
            <a:rect l="l" t="t" r="r" b="b"/>
            <a:pathLst>
              <a:path w="1528826" h="1080770">
                <a:moveTo>
                  <a:pt x="0" y="0"/>
                </a:moveTo>
                <a:lnTo>
                  <a:pt x="1020763" y="0"/>
                </a:lnTo>
                <a:cubicBezTo>
                  <a:pt x="1020763" y="0"/>
                  <a:pt x="1528826" y="1080770"/>
                  <a:pt x="1528826" y="1080770"/>
                </a:cubicBezTo>
                <a:lnTo>
                  <a:pt x="508064" y="1080770"/>
                </a:lnTo>
                <a:close/>
              </a:path>
            </a:pathLst>
          </a:custGeom>
          <a:solidFill>
            <a:schemeClr val="bg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418659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6806E16E-5684-ED7A-68DD-202B48FFC242}"/>
              </a:ext>
            </a:extLst>
          </p:cNvPr>
          <p:cNvSpPr/>
          <p:nvPr userDrawn="1"/>
        </p:nvSpPr>
        <p:spPr>
          <a:xfrm>
            <a:off x="4777231" y="634999"/>
            <a:ext cx="7414768" cy="5588000"/>
          </a:xfrm>
          <a:custGeom>
            <a:avLst/>
            <a:gdLst>
              <a:gd name="connsiteX0" fmla="*/ 2645029 w 7414768"/>
              <a:gd name="connsiteY0" fmla="*/ 0 h 5588000"/>
              <a:gd name="connsiteX1" fmla="*/ 7414768 w 7414768"/>
              <a:gd name="connsiteY1" fmla="*/ 0 h 5588000"/>
              <a:gd name="connsiteX2" fmla="*/ 7414768 w 7414768"/>
              <a:gd name="connsiteY2" fmla="*/ 5588000 h 5588000"/>
              <a:gd name="connsiteX3" fmla="*/ 0 w 7414768"/>
              <a:gd name="connsiteY3" fmla="*/ 5588000 h 5588000"/>
            </a:gdLst>
            <a:ahLst/>
            <a:cxnLst>
              <a:cxn ang="0">
                <a:pos x="connsiteX0" y="connsiteY0"/>
              </a:cxn>
              <a:cxn ang="0">
                <a:pos x="connsiteX1" y="connsiteY1"/>
              </a:cxn>
              <a:cxn ang="0">
                <a:pos x="connsiteX2" y="connsiteY2"/>
              </a:cxn>
              <a:cxn ang="0">
                <a:pos x="connsiteX3" y="connsiteY3"/>
              </a:cxn>
            </a:cxnLst>
            <a:rect l="l" t="t" r="r" b="b"/>
            <a:pathLst>
              <a:path w="7414768" h="5588000">
                <a:moveTo>
                  <a:pt x="2645029" y="0"/>
                </a:moveTo>
                <a:lnTo>
                  <a:pt x="7414768" y="0"/>
                </a:lnTo>
                <a:lnTo>
                  <a:pt x="7414768" y="5588000"/>
                </a:lnTo>
                <a:lnTo>
                  <a:pt x="0" y="558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3" name="Free-form: Shape 12">
            <a:extLst>
              <a:ext uri="{FF2B5EF4-FFF2-40B4-BE49-F238E27FC236}">
                <a16:creationId xmlns:a16="http://schemas.microsoft.com/office/drawing/2014/main" id="{A6833558-9D2F-590E-6A07-68442D157548}"/>
              </a:ext>
            </a:extLst>
          </p:cNvPr>
          <p:cNvSpPr/>
          <p:nvPr/>
        </p:nvSpPr>
        <p:spPr>
          <a:xfrm>
            <a:off x="0" y="635000"/>
            <a:ext cx="7422260" cy="5588000"/>
          </a:xfrm>
          <a:custGeom>
            <a:avLst/>
            <a:gdLst>
              <a:gd name="connsiteX0" fmla="*/ 0 w 7422260"/>
              <a:gd name="connsiteY0" fmla="*/ 5588000 h 5588000"/>
              <a:gd name="connsiteX1" fmla="*/ 4777232 w 7422260"/>
              <a:gd name="connsiteY1" fmla="*/ 5588000 h 5588000"/>
              <a:gd name="connsiteX2" fmla="*/ 7422261 w 7422260"/>
              <a:gd name="connsiteY2" fmla="*/ 0 h 5588000"/>
              <a:gd name="connsiteX3" fmla="*/ 0 w 7422260"/>
              <a:gd name="connsiteY3" fmla="*/ 0 h 5588000"/>
              <a:gd name="connsiteX4" fmla="*/ 0 w 7422260"/>
              <a:gd name="connsiteY4" fmla="*/ 5588000 h 55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2260" h="5588000">
                <a:moveTo>
                  <a:pt x="0" y="5588000"/>
                </a:moveTo>
                <a:lnTo>
                  <a:pt x="4777232" y="5588000"/>
                </a:lnTo>
                <a:lnTo>
                  <a:pt x="7422261" y="0"/>
                </a:lnTo>
                <a:lnTo>
                  <a:pt x="0" y="0"/>
                </a:lnTo>
                <a:lnTo>
                  <a:pt x="0" y="5588000"/>
                </a:lnTo>
                <a:close/>
              </a:path>
            </a:pathLst>
          </a:custGeom>
          <a:solidFill>
            <a:srgbClr val="00B1A8"/>
          </a:solidFill>
          <a:ln w="6350" cap="flat">
            <a:noFill/>
            <a:prstDash val="solid"/>
            <a:miter/>
          </a:ln>
        </p:spPr>
        <p:txBody>
          <a:bodyPr rtlCol="0" anchor="ctr"/>
          <a:lstStyle/>
          <a:p>
            <a:endParaRPr lang="en-AU"/>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643977" y="3176337"/>
            <a:ext cx="5040000" cy="1440000"/>
          </a:xfrm>
        </p:spPr>
        <p:txBody>
          <a:bodyPr/>
          <a:lstStyle>
            <a:lvl1pPr marL="0" indent="0" algn="l">
              <a:buNone/>
              <a:defRPr sz="2300" b="0">
                <a:solidFill>
                  <a:schemeClr val="bg1"/>
                </a:solidFill>
              </a:defRPr>
            </a:lvl1pPr>
            <a:lvl2pPr marL="0" indent="0" algn="l">
              <a:buNone/>
              <a:defRPr sz="2300" b="0">
                <a:solidFill>
                  <a:schemeClr val="accent3"/>
                </a:solidFill>
              </a:defRPr>
            </a:lvl2pPr>
            <a:lvl3pPr marL="0" indent="0" algn="l">
              <a:buNone/>
              <a:defRPr sz="2300" b="0">
                <a:solidFill>
                  <a:schemeClr val="bg1"/>
                </a:solidFill>
              </a:defRPr>
            </a:lvl3pPr>
            <a:lvl4pPr marL="0" indent="0" algn="l">
              <a:buNone/>
              <a:defRPr sz="2300" b="0">
                <a:solidFill>
                  <a:schemeClr val="bg1"/>
                </a:solidFill>
              </a:defRPr>
            </a:lvl4pPr>
            <a:lvl5pPr marL="0" indent="0" algn="l">
              <a:buNone/>
              <a:defRPr sz="2300" b="0">
                <a:solidFill>
                  <a:schemeClr val="bg1"/>
                </a:solidFill>
              </a:defRPr>
            </a:lvl5pPr>
            <a:lvl6pPr marL="0" indent="0" algn="l">
              <a:buNone/>
              <a:defRPr sz="2300" b="0">
                <a:solidFill>
                  <a:schemeClr val="bg1"/>
                </a:solidFill>
              </a:defRPr>
            </a:lvl6pPr>
            <a:lvl7pPr marL="0" indent="0" algn="l">
              <a:buNone/>
              <a:defRPr sz="2300" b="0">
                <a:solidFill>
                  <a:schemeClr val="bg1"/>
                </a:solidFill>
              </a:defRPr>
            </a:lvl7pPr>
            <a:lvl8pPr marL="0" indent="0" algn="l">
              <a:buNone/>
              <a:defRPr sz="2300" b="0">
                <a:solidFill>
                  <a:schemeClr val="bg1"/>
                </a:solidFill>
              </a:defRPr>
            </a:lvl8pPr>
            <a:lvl9pPr marL="0" indent="0" algn="l">
              <a:buNone/>
              <a:defRPr sz="2300"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647699" y="2011612"/>
            <a:ext cx="5040000" cy="1080000"/>
          </a:xfrm>
        </p:spPr>
        <p:txBody>
          <a:bodyPr anchor="b" anchorCtr="0"/>
          <a:lstStyle>
            <a:lvl1pPr>
              <a:defRPr sz="3100">
                <a:solidFill>
                  <a:schemeClr val="bg1"/>
                </a:solidFill>
              </a:defRPr>
            </a:lvl1pPr>
          </a:lstStyle>
          <a:p>
            <a:r>
              <a:rPr lang="en-US" dirty="0"/>
              <a:t>Section Header</a:t>
            </a:r>
            <a:endParaRPr lang="en-GB" dirty="0"/>
          </a:p>
        </p:txBody>
      </p:sp>
      <p:sp>
        <p:nvSpPr>
          <p:cNvPr id="12" name="Free-form: Shape 11">
            <a:extLst>
              <a:ext uri="{FF2B5EF4-FFF2-40B4-BE49-F238E27FC236}">
                <a16:creationId xmlns:a16="http://schemas.microsoft.com/office/drawing/2014/main" id="{46A622D3-ACA9-C40F-E4FC-7C7DA829AD89}"/>
              </a:ext>
            </a:extLst>
          </p:cNvPr>
          <p:cNvSpPr/>
          <p:nvPr/>
        </p:nvSpPr>
        <p:spPr>
          <a:xfrm>
            <a:off x="7422324" y="0"/>
            <a:ext cx="1185227" cy="635000"/>
          </a:xfrm>
          <a:custGeom>
            <a:avLst/>
            <a:gdLst>
              <a:gd name="connsiteX0" fmla="*/ 300228 w 1185227"/>
              <a:gd name="connsiteY0" fmla="*/ 0 h 635000"/>
              <a:gd name="connsiteX1" fmla="*/ 0 w 1185227"/>
              <a:gd name="connsiteY1" fmla="*/ 635000 h 635000"/>
              <a:gd name="connsiteX2" fmla="*/ 885698 w 1185227"/>
              <a:gd name="connsiteY2" fmla="*/ 635000 h 635000"/>
              <a:gd name="connsiteX3" fmla="*/ 1185228 w 1185227"/>
              <a:gd name="connsiteY3" fmla="*/ 0 h 635000"/>
              <a:gd name="connsiteX4" fmla="*/ 300228 w 1185227"/>
              <a:gd name="connsiteY4" fmla="*/ 0 h 6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27" h="635000">
                <a:moveTo>
                  <a:pt x="300228" y="0"/>
                </a:moveTo>
                <a:lnTo>
                  <a:pt x="0" y="635000"/>
                </a:lnTo>
                <a:lnTo>
                  <a:pt x="885698" y="635000"/>
                </a:lnTo>
                <a:cubicBezTo>
                  <a:pt x="885698" y="635000"/>
                  <a:pt x="1185228" y="0"/>
                  <a:pt x="1185228" y="0"/>
                </a:cubicBezTo>
                <a:lnTo>
                  <a:pt x="300228" y="0"/>
                </a:lnTo>
                <a:close/>
              </a:path>
            </a:pathLst>
          </a:custGeom>
          <a:solidFill>
            <a:srgbClr val="CDDB00"/>
          </a:solidFill>
          <a:ln w="635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132F4E9-A47A-DFCF-A30E-0DF06ABFF4EC}"/>
              </a:ext>
            </a:extLst>
          </p:cNvPr>
          <p:cNvSpPr/>
          <p:nvPr/>
        </p:nvSpPr>
        <p:spPr>
          <a:xfrm>
            <a:off x="7860283" y="6222936"/>
            <a:ext cx="1322641" cy="635127"/>
          </a:xfrm>
          <a:custGeom>
            <a:avLst/>
            <a:gdLst>
              <a:gd name="connsiteX0" fmla="*/ 1322642 w 1322641"/>
              <a:gd name="connsiteY0" fmla="*/ 0 h 635127"/>
              <a:gd name="connsiteX1" fmla="*/ 300482 w 1322641"/>
              <a:gd name="connsiteY1" fmla="*/ 2540 h 635127"/>
              <a:gd name="connsiteX2" fmla="*/ 0 w 1322641"/>
              <a:gd name="connsiteY2" fmla="*/ 635127 h 635127"/>
              <a:gd name="connsiteX3" fmla="*/ 1021080 w 1322641"/>
              <a:gd name="connsiteY3" fmla="*/ 635127 h 635127"/>
              <a:gd name="connsiteX4" fmla="*/ 1322578 w 1322641"/>
              <a:gd name="connsiteY4" fmla="*/ 64 h 63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641" h="635127">
                <a:moveTo>
                  <a:pt x="1322642" y="0"/>
                </a:moveTo>
                <a:lnTo>
                  <a:pt x="300482" y="2540"/>
                </a:lnTo>
                <a:lnTo>
                  <a:pt x="0" y="635127"/>
                </a:lnTo>
                <a:lnTo>
                  <a:pt x="1021080" y="635127"/>
                </a:lnTo>
                <a:lnTo>
                  <a:pt x="1322578" y="64"/>
                </a:lnTo>
                <a:close/>
              </a:path>
            </a:pathLst>
          </a:custGeom>
          <a:solidFill>
            <a:srgbClr val="53565A"/>
          </a:solidFill>
          <a:ln w="635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6A699EE-32B6-DF42-B15C-A2EB2445DBF7}"/>
              </a:ext>
            </a:extLst>
          </p:cNvPr>
          <p:cNvSpPr/>
          <p:nvPr/>
        </p:nvSpPr>
        <p:spPr>
          <a:xfrm>
            <a:off x="7865109" y="635000"/>
            <a:ext cx="442848" cy="936625"/>
          </a:xfrm>
          <a:custGeom>
            <a:avLst/>
            <a:gdLst>
              <a:gd name="connsiteX0" fmla="*/ 442849 w 442848"/>
              <a:gd name="connsiteY0" fmla="*/ 0 h 936625"/>
              <a:gd name="connsiteX1" fmla="*/ 0 w 442848"/>
              <a:gd name="connsiteY1" fmla="*/ 936625 h 936625"/>
            </a:gdLst>
            <a:ahLst/>
            <a:cxnLst>
              <a:cxn ang="0">
                <a:pos x="connsiteX0" y="connsiteY0"/>
              </a:cxn>
              <a:cxn ang="0">
                <a:pos x="connsiteX1" y="connsiteY1"/>
              </a:cxn>
            </a:cxnLst>
            <a:rect l="l" t="t" r="r" b="b"/>
            <a:pathLst>
              <a:path w="442848" h="936625">
                <a:moveTo>
                  <a:pt x="442849" y="0"/>
                </a:moveTo>
                <a:lnTo>
                  <a:pt x="0" y="936625"/>
                </a:lnTo>
              </a:path>
            </a:pathLst>
          </a:custGeom>
          <a:solidFill>
            <a:srgbClr val="FFFFFF"/>
          </a:solidFill>
          <a:ln w="6350" cap="flat">
            <a:noFill/>
            <a:prstDash val="solid"/>
            <a:miter/>
          </a:ln>
        </p:spPr>
        <p:txBody>
          <a:bodyPr rtlCol="0" anchor="ctr"/>
          <a:lstStyle/>
          <a:p>
            <a:endParaRPr lang="en-AU"/>
          </a:p>
        </p:txBody>
      </p:sp>
      <p:sp>
        <p:nvSpPr>
          <p:cNvPr id="21" name="Date Placeholder 3">
            <a:extLst>
              <a:ext uri="{FF2B5EF4-FFF2-40B4-BE49-F238E27FC236}">
                <a16:creationId xmlns:a16="http://schemas.microsoft.com/office/drawing/2014/main" id="{A591062E-F0A2-F145-9596-91D65AA7717A}"/>
              </a:ext>
            </a:extLst>
          </p:cNvPr>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B215DE78-77D5-4768-9673-DF6CA188249A}" type="datetime1">
              <a:rPr lang="en-GB" smtClean="0"/>
              <a:t>31/07/2023</a:t>
            </a:fld>
            <a:endParaRPr lang="en-GB"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23" name="Slide Number Placeholder 5">
            <a:extLst>
              <a:ext uri="{FF2B5EF4-FFF2-40B4-BE49-F238E27FC236}">
                <a16:creationId xmlns:a16="http://schemas.microsoft.com/office/drawing/2014/main" id="{C903D72C-DFD6-E8D3-917D-CD26FF3DBA8F}"/>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6A2A799F-8F7A-5A2E-D0E0-255E6412E18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1B44DF4A-46CA-B798-F6B5-D42822ED21DA}"/>
              </a:ext>
            </a:extLst>
          </p:cNvPr>
          <p:cNvSpPr/>
          <p:nvPr userDrawn="1"/>
        </p:nvSpPr>
        <p:spPr>
          <a:xfrm>
            <a:off x="8160828" y="5142166"/>
            <a:ext cx="1534858" cy="1083247"/>
          </a:xfrm>
          <a:custGeom>
            <a:avLst/>
            <a:gdLst>
              <a:gd name="connsiteX0" fmla="*/ 514032 w 1534858"/>
              <a:gd name="connsiteY0" fmla="*/ 0 h 1083247"/>
              <a:gd name="connsiteX1" fmla="*/ 1534858 w 1534858"/>
              <a:gd name="connsiteY1" fmla="*/ 0 h 1083247"/>
              <a:gd name="connsiteX2" fmla="*/ 1022159 w 1534858"/>
              <a:gd name="connsiteY2" fmla="*/ 1080707 h 1083247"/>
              <a:gd name="connsiteX3" fmla="*/ 0 w 1534858"/>
              <a:gd name="connsiteY3" fmla="*/ 1083247 h 1083247"/>
              <a:gd name="connsiteX4" fmla="*/ 514032 w 1534858"/>
              <a:gd name="connsiteY4" fmla="*/ 64 h 1083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858" h="1083247">
                <a:moveTo>
                  <a:pt x="514032" y="0"/>
                </a:moveTo>
                <a:lnTo>
                  <a:pt x="1534858" y="0"/>
                </a:lnTo>
                <a:lnTo>
                  <a:pt x="1022159" y="1080707"/>
                </a:lnTo>
                <a:lnTo>
                  <a:pt x="0" y="1083247"/>
                </a:lnTo>
                <a:lnTo>
                  <a:pt x="514032" y="64"/>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14" name="Free-form: Shape 13">
            <a:extLst>
              <a:ext uri="{FF2B5EF4-FFF2-40B4-BE49-F238E27FC236}">
                <a16:creationId xmlns:a16="http://schemas.microsoft.com/office/drawing/2014/main" id="{2AB0D23C-4947-6260-747A-42D2A6BFB08E}"/>
              </a:ext>
            </a:extLst>
          </p:cNvPr>
          <p:cNvSpPr/>
          <p:nvPr userDrawn="1"/>
        </p:nvSpPr>
        <p:spPr>
          <a:xfrm>
            <a:off x="8674798" y="5142228"/>
            <a:ext cx="1528826" cy="1080770"/>
          </a:xfrm>
          <a:custGeom>
            <a:avLst/>
            <a:gdLst>
              <a:gd name="connsiteX0" fmla="*/ 0 w 1528826"/>
              <a:gd name="connsiteY0" fmla="*/ 0 h 1080770"/>
              <a:gd name="connsiteX1" fmla="*/ 1020763 w 1528826"/>
              <a:gd name="connsiteY1" fmla="*/ 0 h 1080770"/>
              <a:gd name="connsiteX2" fmla="*/ 1528826 w 1528826"/>
              <a:gd name="connsiteY2" fmla="*/ 1080770 h 1080770"/>
              <a:gd name="connsiteX3" fmla="*/ 508064 w 1528826"/>
              <a:gd name="connsiteY3" fmla="*/ 1080770 h 1080770"/>
            </a:gdLst>
            <a:ahLst/>
            <a:cxnLst>
              <a:cxn ang="0">
                <a:pos x="connsiteX0" y="connsiteY0"/>
              </a:cxn>
              <a:cxn ang="0">
                <a:pos x="connsiteX1" y="connsiteY1"/>
              </a:cxn>
              <a:cxn ang="0">
                <a:pos x="connsiteX2" y="connsiteY2"/>
              </a:cxn>
              <a:cxn ang="0">
                <a:pos x="connsiteX3" y="connsiteY3"/>
              </a:cxn>
            </a:cxnLst>
            <a:rect l="l" t="t" r="r" b="b"/>
            <a:pathLst>
              <a:path w="1528826" h="1080770">
                <a:moveTo>
                  <a:pt x="0" y="0"/>
                </a:moveTo>
                <a:lnTo>
                  <a:pt x="1020763" y="0"/>
                </a:lnTo>
                <a:cubicBezTo>
                  <a:pt x="1020763" y="0"/>
                  <a:pt x="1528826" y="1080770"/>
                  <a:pt x="1528826" y="1080770"/>
                </a:cubicBezTo>
                <a:lnTo>
                  <a:pt x="508064" y="1080770"/>
                </a:lnTo>
                <a:close/>
              </a:path>
            </a:pathLst>
          </a:custGeom>
          <a:solidFill>
            <a:schemeClr val="bg1">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20" name="Free-form: Shape 19">
            <a:extLst>
              <a:ext uri="{FF2B5EF4-FFF2-40B4-BE49-F238E27FC236}">
                <a16:creationId xmlns:a16="http://schemas.microsoft.com/office/drawing/2014/main" id="{4F58802B-D330-A2B6-78BA-53CF020A45D1}"/>
              </a:ext>
            </a:extLst>
          </p:cNvPr>
          <p:cNvSpPr/>
          <p:nvPr userDrawn="1"/>
        </p:nvSpPr>
        <p:spPr>
          <a:xfrm>
            <a:off x="6979411" y="635000"/>
            <a:ext cx="1328546" cy="936625"/>
          </a:xfrm>
          <a:custGeom>
            <a:avLst/>
            <a:gdLst>
              <a:gd name="connsiteX0" fmla="*/ 442848 w 1328546"/>
              <a:gd name="connsiteY0" fmla="*/ 0 h 936625"/>
              <a:gd name="connsiteX1" fmla="*/ 442849 w 1328546"/>
              <a:gd name="connsiteY1" fmla="*/ 0 h 936625"/>
              <a:gd name="connsiteX2" fmla="*/ 1328546 w 1328546"/>
              <a:gd name="connsiteY2" fmla="*/ 0 h 936625"/>
              <a:gd name="connsiteX3" fmla="*/ 885698 w 1328546"/>
              <a:gd name="connsiteY3" fmla="*/ 936624 h 936625"/>
              <a:gd name="connsiteX4" fmla="*/ 885698 w 1328546"/>
              <a:gd name="connsiteY4" fmla="*/ 936625 h 936625"/>
              <a:gd name="connsiteX5" fmla="*/ 885697 w 1328546"/>
              <a:gd name="connsiteY5" fmla="*/ 936625 h 936625"/>
              <a:gd name="connsiteX6" fmla="*/ 0 w 1328546"/>
              <a:gd name="connsiteY6" fmla="*/ 936625 h 936625"/>
              <a:gd name="connsiteX7" fmla="*/ 442849 w 1328546"/>
              <a:gd name="connsiteY7" fmla="*/ 1 h 93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8546" h="936625">
                <a:moveTo>
                  <a:pt x="442848" y="0"/>
                </a:moveTo>
                <a:lnTo>
                  <a:pt x="442849" y="0"/>
                </a:lnTo>
                <a:lnTo>
                  <a:pt x="1328546" y="0"/>
                </a:lnTo>
                <a:lnTo>
                  <a:pt x="885698" y="936624"/>
                </a:lnTo>
                <a:lnTo>
                  <a:pt x="885698" y="936625"/>
                </a:lnTo>
                <a:lnTo>
                  <a:pt x="885697" y="936625"/>
                </a:lnTo>
                <a:lnTo>
                  <a:pt x="0" y="936625"/>
                </a:lnTo>
                <a:lnTo>
                  <a:pt x="442849" y="1"/>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25" name="Free-form: Shape 24">
            <a:extLst>
              <a:ext uri="{FF2B5EF4-FFF2-40B4-BE49-F238E27FC236}">
                <a16:creationId xmlns:a16="http://schemas.microsoft.com/office/drawing/2014/main" id="{DDE40EF4-2A05-F46C-D09E-6686E71CE62C}"/>
              </a:ext>
            </a:extLst>
          </p:cNvPr>
          <p:cNvSpPr/>
          <p:nvPr userDrawn="1"/>
        </p:nvSpPr>
        <p:spPr>
          <a:xfrm>
            <a:off x="6536563" y="635000"/>
            <a:ext cx="1328547" cy="936625"/>
          </a:xfrm>
          <a:custGeom>
            <a:avLst/>
            <a:gdLst>
              <a:gd name="connsiteX0" fmla="*/ 0 w 1328547"/>
              <a:gd name="connsiteY0" fmla="*/ 0 h 936625"/>
              <a:gd name="connsiteX1" fmla="*/ 885698 w 1328547"/>
              <a:gd name="connsiteY1" fmla="*/ 0 h 936625"/>
              <a:gd name="connsiteX2" fmla="*/ 1328547 w 1328547"/>
              <a:gd name="connsiteY2" fmla="*/ 936625 h 936625"/>
              <a:gd name="connsiteX3" fmla="*/ 442849 w 1328547"/>
              <a:gd name="connsiteY3" fmla="*/ 936625 h 936625"/>
              <a:gd name="connsiteX4" fmla="*/ 0 w 1328547"/>
              <a:gd name="connsiteY4" fmla="*/ 0 h 93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547" h="936625">
                <a:moveTo>
                  <a:pt x="0" y="0"/>
                </a:moveTo>
                <a:lnTo>
                  <a:pt x="885698" y="0"/>
                </a:lnTo>
                <a:lnTo>
                  <a:pt x="1328547" y="936625"/>
                </a:lnTo>
                <a:lnTo>
                  <a:pt x="442849" y="936625"/>
                </a:lnTo>
                <a:cubicBezTo>
                  <a:pt x="442849" y="936625"/>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Tree>
    <p:extLst>
      <p:ext uri="{BB962C8B-B14F-4D97-AF65-F5344CB8AC3E}">
        <p14:creationId xmlns:p14="http://schemas.microsoft.com/office/powerpoint/2010/main" val="3137335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6806E16E-5684-ED7A-68DD-202B48FFC242}"/>
              </a:ext>
            </a:extLst>
          </p:cNvPr>
          <p:cNvSpPr/>
          <p:nvPr userDrawn="1"/>
        </p:nvSpPr>
        <p:spPr>
          <a:xfrm>
            <a:off x="4777231" y="634999"/>
            <a:ext cx="7414768" cy="5588000"/>
          </a:xfrm>
          <a:custGeom>
            <a:avLst/>
            <a:gdLst>
              <a:gd name="connsiteX0" fmla="*/ 2645029 w 7414768"/>
              <a:gd name="connsiteY0" fmla="*/ 0 h 5588000"/>
              <a:gd name="connsiteX1" fmla="*/ 7414768 w 7414768"/>
              <a:gd name="connsiteY1" fmla="*/ 0 h 5588000"/>
              <a:gd name="connsiteX2" fmla="*/ 7414768 w 7414768"/>
              <a:gd name="connsiteY2" fmla="*/ 5588000 h 5588000"/>
              <a:gd name="connsiteX3" fmla="*/ 0 w 7414768"/>
              <a:gd name="connsiteY3" fmla="*/ 5588000 h 5588000"/>
            </a:gdLst>
            <a:ahLst/>
            <a:cxnLst>
              <a:cxn ang="0">
                <a:pos x="connsiteX0" y="connsiteY0"/>
              </a:cxn>
              <a:cxn ang="0">
                <a:pos x="connsiteX1" y="connsiteY1"/>
              </a:cxn>
              <a:cxn ang="0">
                <a:pos x="connsiteX2" y="connsiteY2"/>
              </a:cxn>
              <a:cxn ang="0">
                <a:pos x="connsiteX3" y="connsiteY3"/>
              </a:cxn>
            </a:cxnLst>
            <a:rect l="l" t="t" r="r" b="b"/>
            <a:pathLst>
              <a:path w="7414768" h="5588000">
                <a:moveTo>
                  <a:pt x="2645029" y="0"/>
                </a:moveTo>
                <a:lnTo>
                  <a:pt x="7414768" y="0"/>
                </a:lnTo>
                <a:lnTo>
                  <a:pt x="7414768" y="5588000"/>
                </a:lnTo>
                <a:lnTo>
                  <a:pt x="0" y="558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3" name="Free-form: Shape 12">
            <a:extLst>
              <a:ext uri="{FF2B5EF4-FFF2-40B4-BE49-F238E27FC236}">
                <a16:creationId xmlns:a16="http://schemas.microsoft.com/office/drawing/2014/main" id="{A6833558-9D2F-590E-6A07-68442D157548}"/>
              </a:ext>
            </a:extLst>
          </p:cNvPr>
          <p:cNvSpPr/>
          <p:nvPr/>
        </p:nvSpPr>
        <p:spPr>
          <a:xfrm>
            <a:off x="0" y="635000"/>
            <a:ext cx="7422260" cy="5588000"/>
          </a:xfrm>
          <a:custGeom>
            <a:avLst/>
            <a:gdLst>
              <a:gd name="connsiteX0" fmla="*/ 0 w 7422260"/>
              <a:gd name="connsiteY0" fmla="*/ 5588000 h 5588000"/>
              <a:gd name="connsiteX1" fmla="*/ 4777232 w 7422260"/>
              <a:gd name="connsiteY1" fmla="*/ 5588000 h 5588000"/>
              <a:gd name="connsiteX2" fmla="*/ 7422261 w 7422260"/>
              <a:gd name="connsiteY2" fmla="*/ 0 h 5588000"/>
              <a:gd name="connsiteX3" fmla="*/ 0 w 7422260"/>
              <a:gd name="connsiteY3" fmla="*/ 0 h 5588000"/>
              <a:gd name="connsiteX4" fmla="*/ 0 w 7422260"/>
              <a:gd name="connsiteY4" fmla="*/ 5588000 h 55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2260" h="5588000">
                <a:moveTo>
                  <a:pt x="0" y="5588000"/>
                </a:moveTo>
                <a:lnTo>
                  <a:pt x="4777232" y="5588000"/>
                </a:lnTo>
                <a:lnTo>
                  <a:pt x="7422261" y="0"/>
                </a:lnTo>
                <a:lnTo>
                  <a:pt x="0" y="0"/>
                </a:lnTo>
                <a:lnTo>
                  <a:pt x="0" y="5588000"/>
                </a:lnTo>
                <a:close/>
              </a:path>
            </a:pathLst>
          </a:custGeom>
          <a:solidFill>
            <a:schemeClr val="accent6"/>
          </a:solidFill>
          <a:ln w="6350" cap="flat">
            <a:noFill/>
            <a:prstDash val="solid"/>
            <a:miter/>
          </a:ln>
        </p:spPr>
        <p:txBody>
          <a:bodyPr rtlCol="0" anchor="ctr"/>
          <a:lstStyle/>
          <a:p>
            <a:endParaRPr lang="en-AU"/>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643977" y="3176337"/>
            <a:ext cx="5040000" cy="1440000"/>
          </a:xfrm>
        </p:spPr>
        <p:txBody>
          <a:bodyPr/>
          <a:lstStyle>
            <a:lvl1pPr marL="0" indent="0" algn="l">
              <a:buNone/>
              <a:defRPr sz="2300" b="0">
                <a:solidFill>
                  <a:schemeClr val="bg1"/>
                </a:solidFill>
              </a:defRPr>
            </a:lvl1pPr>
            <a:lvl2pPr marL="0" indent="0" algn="l">
              <a:buNone/>
              <a:defRPr sz="2300" b="0">
                <a:solidFill>
                  <a:schemeClr val="accent3"/>
                </a:solidFill>
              </a:defRPr>
            </a:lvl2pPr>
            <a:lvl3pPr marL="0" indent="0" algn="l">
              <a:buNone/>
              <a:defRPr sz="2300" b="0">
                <a:solidFill>
                  <a:schemeClr val="bg1"/>
                </a:solidFill>
              </a:defRPr>
            </a:lvl3pPr>
            <a:lvl4pPr marL="0" indent="0" algn="l">
              <a:buNone/>
              <a:defRPr sz="2300" b="0">
                <a:solidFill>
                  <a:schemeClr val="bg1"/>
                </a:solidFill>
              </a:defRPr>
            </a:lvl4pPr>
            <a:lvl5pPr marL="0" indent="0" algn="l">
              <a:buNone/>
              <a:defRPr sz="2300" b="0">
                <a:solidFill>
                  <a:schemeClr val="bg1"/>
                </a:solidFill>
              </a:defRPr>
            </a:lvl5pPr>
            <a:lvl6pPr marL="0" indent="0" algn="l">
              <a:buNone/>
              <a:defRPr sz="2300" b="0">
                <a:solidFill>
                  <a:schemeClr val="bg1"/>
                </a:solidFill>
              </a:defRPr>
            </a:lvl6pPr>
            <a:lvl7pPr marL="0" indent="0" algn="l">
              <a:buNone/>
              <a:defRPr sz="2300" b="0">
                <a:solidFill>
                  <a:schemeClr val="bg1"/>
                </a:solidFill>
              </a:defRPr>
            </a:lvl7pPr>
            <a:lvl8pPr marL="0" indent="0" algn="l">
              <a:buNone/>
              <a:defRPr sz="2300" b="0">
                <a:solidFill>
                  <a:schemeClr val="bg1"/>
                </a:solidFill>
              </a:defRPr>
            </a:lvl8pPr>
            <a:lvl9pPr marL="0" indent="0" algn="l">
              <a:buNone/>
              <a:defRPr sz="2300"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647699" y="2011612"/>
            <a:ext cx="5040000" cy="1080000"/>
          </a:xfrm>
        </p:spPr>
        <p:txBody>
          <a:bodyPr anchor="b" anchorCtr="0"/>
          <a:lstStyle>
            <a:lvl1pPr>
              <a:defRPr sz="3100">
                <a:solidFill>
                  <a:schemeClr val="bg1"/>
                </a:solidFill>
              </a:defRPr>
            </a:lvl1pPr>
          </a:lstStyle>
          <a:p>
            <a:r>
              <a:rPr lang="en-US" dirty="0"/>
              <a:t>Section Header</a:t>
            </a:r>
            <a:endParaRPr lang="en-GB" dirty="0"/>
          </a:p>
        </p:txBody>
      </p:sp>
      <p:sp>
        <p:nvSpPr>
          <p:cNvPr id="12" name="Free-form: Shape 11">
            <a:extLst>
              <a:ext uri="{FF2B5EF4-FFF2-40B4-BE49-F238E27FC236}">
                <a16:creationId xmlns:a16="http://schemas.microsoft.com/office/drawing/2014/main" id="{46A622D3-ACA9-C40F-E4FC-7C7DA829AD89}"/>
              </a:ext>
            </a:extLst>
          </p:cNvPr>
          <p:cNvSpPr/>
          <p:nvPr/>
        </p:nvSpPr>
        <p:spPr>
          <a:xfrm>
            <a:off x="7422324" y="0"/>
            <a:ext cx="1185227" cy="635000"/>
          </a:xfrm>
          <a:custGeom>
            <a:avLst/>
            <a:gdLst>
              <a:gd name="connsiteX0" fmla="*/ 300228 w 1185227"/>
              <a:gd name="connsiteY0" fmla="*/ 0 h 635000"/>
              <a:gd name="connsiteX1" fmla="*/ 0 w 1185227"/>
              <a:gd name="connsiteY1" fmla="*/ 635000 h 635000"/>
              <a:gd name="connsiteX2" fmla="*/ 885698 w 1185227"/>
              <a:gd name="connsiteY2" fmla="*/ 635000 h 635000"/>
              <a:gd name="connsiteX3" fmla="*/ 1185228 w 1185227"/>
              <a:gd name="connsiteY3" fmla="*/ 0 h 635000"/>
              <a:gd name="connsiteX4" fmla="*/ 300228 w 1185227"/>
              <a:gd name="connsiteY4" fmla="*/ 0 h 6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227" h="635000">
                <a:moveTo>
                  <a:pt x="300228" y="0"/>
                </a:moveTo>
                <a:lnTo>
                  <a:pt x="0" y="635000"/>
                </a:lnTo>
                <a:lnTo>
                  <a:pt x="885698" y="635000"/>
                </a:lnTo>
                <a:cubicBezTo>
                  <a:pt x="885698" y="635000"/>
                  <a:pt x="1185228" y="0"/>
                  <a:pt x="1185228" y="0"/>
                </a:cubicBezTo>
                <a:lnTo>
                  <a:pt x="300228" y="0"/>
                </a:lnTo>
                <a:close/>
              </a:path>
            </a:pathLst>
          </a:custGeom>
          <a:solidFill>
            <a:srgbClr val="CDDB00"/>
          </a:solidFill>
          <a:ln w="635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132F4E9-A47A-DFCF-A30E-0DF06ABFF4EC}"/>
              </a:ext>
            </a:extLst>
          </p:cNvPr>
          <p:cNvSpPr/>
          <p:nvPr/>
        </p:nvSpPr>
        <p:spPr>
          <a:xfrm>
            <a:off x="7860283" y="6222936"/>
            <a:ext cx="1322641" cy="635127"/>
          </a:xfrm>
          <a:custGeom>
            <a:avLst/>
            <a:gdLst>
              <a:gd name="connsiteX0" fmla="*/ 1322642 w 1322641"/>
              <a:gd name="connsiteY0" fmla="*/ 0 h 635127"/>
              <a:gd name="connsiteX1" fmla="*/ 300482 w 1322641"/>
              <a:gd name="connsiteY1" fmla="*/ 2540 h 635127"/>
              <a:gd name="connsiteX2" fmla="*/ 0 w 1322641"/>
              <a:gd name="connsiteY2" fmla="*/ 635127 h 635127"/>
              <a:gd name="connsiteX3" fmla="*/ 1021080 w 1322641"/>
              <a:gd name="connsiteY3" fmla="*/ 635127 h 635127"/>
              <a:gd name="connsiteX4" fmla="*/ 1322578 w 1322641"/>
              <a:gd name="connsiteY4" fmla="*/ 64 h 63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641" h="635127">
                <a:moveTo>
                  <a:pt x="1322642" y="0"/>
                </a:moveTo>
                <a:lnTo>
                  <a:pt x="300482" y="2540"/>
                </a:lnTo>
                <a:lnTo>
                  <a:pt x="0" y="635127"/>
                </a:lnTo>
                <a:lnTo>
                  <a:pt x="1021080" y="635127"/>
                </a:lnTo>
                <a:lnTo>
                  <a:pt x="1322578" y="64"/>
                </a:lnTo>
                <a:close/>
              </a:path>
            </a:pathLst>
          </a:custGeom>
          <a:solidFill>
            <a:schemeClr val="tx2"/>
          </a:solidFill>
          <a:ln w="635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6A699EE-32B6-DF42-B15C-A2EB2445DBF7}"/>
              </a:ext>
            </a:extLst>
          </p:cNvPr>
          <p:cNvSpPr/>
          <p:nvPr/>
        </p:nvSpPr>
        <p:spPr>
          <a:xfrm>
            <a:off x="7865109" y="635000"/>
            <a:ext cx="442848" cy="936625"/>
          </a:xfrm>
          <a:custGeom>
            <a:avLst/>
            <a:gdLst>
              <a:gd name="connsiteX0" fmla="*/ 442849 w 442848"/>
              <a:gd name="connsiteY0" fmla="*/ 0 h 936625"/>
              <a:gd name="connsiteX1" fmla="*/ 0 w 442848"/>
              <a:gd name="connsiteY1" fmla="*/ 936625 h 936625"/>
            </a:gdLst>
            <a:ahLst/>
            <a:cxnLst>
              <a:cxn ang="0">
                <a:pos x="connsiteX0" y="connsiteY0"/>
              </a:cxn>
              <a:cxn ang="0">
                <a:pos x="connsiteX1" y="connsiteY1"/>
              </a:cxn>
            </a:cxnLst>
            <a:rect l="l" t="t" r="r" b="b"/>
            <a:pathLst>
              <a:path w="442848" h="936625">
                <a:moveTo>
                  <a:pt x="442849" y="0"/>
                </a:moveTo>
                <a:lnTo>
                  <a:pt x="0" y="936625"/>
                </a:lnTo>
              </a:path>
            </a:pathLst>
          </a:custGeom>
          <a:solidFill>
            <a:srgbClr val="FFFFFF"/>
          </a:solidFill>
          <a:ln w="6350" cap="flat">
            <a:noFill/>
            <a:prstDash val="solid"/>
            <a:miter/>
          </a:ln>
        </p:spPr>
        <p:txBody>
          <a:bodyPr rtlCol="0" anchor="ctr"/>
          <a:lstStyle/>
          <a:p>
            <a:endParaRPr lang="en-AU"/>
          </a:p>
        </p:txBody>
      </p:sp>
      <p:sp>
        <p:nvSpPr>
          <p:cNvPr id="21" name="Date Placeholder 3">
            <a:extLst>
              <a:ext uri="{FF2B5EF4-FFF2-40B4-BE49-F238E27FC236}">
                <a16:creationId xmlns:a16="http://schemas.microsoft.com/office/drawing/2014/main" id="{A591062E-F0A2-F145-9596-91D65AA7717A}"/>
              </a:ext>
            </a:extLst>
          </p:cNvPr>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AD8AD8D7-9681-4022-BF89-859FFECAE613}" type="datetime1">
              <a:rPr lang="en-GB" smtClean="0"/>
              <a:t>31/07/2023</a:t>
            </a:fld>
            <a:endParaRPr lang="en-GB"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23" name="Slide Number Placeholder 5">
            <a:extLst>
              <a:ext uri="{FF2B5EF4-FFF2-40B4-BE49-F238E27FC236}">
                <a16:creationId xmlns:a16="http://schemas.microsoft.com/office/drawing/2014/main" id="{C903D72C-DFD6-E8D3-917D-CD26FF3DBA8F}"/>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6A2A799F-8F7A-5A2E-D0E0-255E6412E18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1B44DF4A-46CA-B798-F6B5-D42822ED21DA}"/>
              </a:ext>
            </a:extLst>
          </p:cNvPr>
          <p:cNvSpPr/>
          <p:nvPr userDrawn="1"/>
        </p:nvSpPr>
        <p:spPr>
          <a:xfrm>
            <a:off x="8160828" y="5142166"/>
            <a:ext cx="1534858" cy="1083247"/>
          </a:xfrm>
          <a:custGeom>
            <a:avLst/>
            <a:gdLst>
              <a:gd name="connsiteX0" fmla="*/ 514032 w 1534858"/>
              <a:gd name="connsiteY0" fmla="*/ 0 h 1083247"/>
              <a:gd name="connsiteX1" fmla="*/ 1534858 w 1534858"/>
              <a:gd name="connsiteY1" fmla="*/ 0 h 1083247"/>
              <a:gd name="connsiteX2" fmla="*/ 1022159 w 1534858"/>
              <a:gd name="connsiteY2" fmla="*/ 1080707 h 1083247"/>
              <a:gd name="connsiteX3" fmla="*/ 0 w 1534858"/>
              <a:gd name="connsiteY3" fmla="*/ 1083247 h 1083247"/>
              <a:gd name="connsiteX4" fmla="*/ 514032 w 1534858"/>
              <a:gd name="connsiteY4" fmla="*/ 64 h 1083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858" h="1083247">
                <a:moveTo>
                  <a:pt x="514032" y="0"/>
                </a:moveTo>
                <a:lnTo>
                  <a:pt x="1534858" y="0"/>
                </a:lnTo>
                <a:lnTo>
                  <a:pt x="1022159" y="1080707"/>
                </a:lnTo>
                <a:lnTo>
                  <a:pt x="0" y="1083247"/>
                </a:lnTo>
                <a:lnTo>
                  <a:pt x="514032" y="64"/>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14" name="Free-form: Shape 13">
            <a:extLst>
              <a:ext uri="{FF2B5EF4-FFF2-40B4-BE49-F238E27FC236}">
                <a16:creationId xmlns:a16="http://schemas.microsoft.com/office/drawing/2014/main" id="{2AB0D23C-4947-6260-747A-42D2A6BFB08E}"/>
              </a:ext>
            </a:extLst>
          </p:cNvPr>
          <p:cNvSpPr/>
          <p:nvPr userDrawn="1"/>
        </p:nvSpPr>
        <p:spPr>
          <a:xfrm>
            <a:off x="8674798" y="5142228"/>
            <a:ext cx="1528826" cy="1080770"/>
          </a:xfrm>
          <a:custGeom>
            <a:avLst/>
            <a:gdLst>
              <a:gd name="connsiteX0" fmla="*/ 0 w 1528826"/>
              <a:gd name="connsiteY0" fmla="*/ 0 h 1080770"/>
              <a:gd name="connsiteX1" fmla="*/ 1020763 w 1528826"/>
              <a:gd name="connsiteY1" fmla="*/ 0 h 1080770"/>
              <a:gd name="connsiteX2" fmla="*/ 1528826 w 1528826"/>
              <a:gd name="connsiteY2" fmla="*/ 1080770 h 1080770"/>
              <a:gd name="connsiteX3" fmla="*/ 508064 w 1528826"/>
              <a:gd name="connsiteY3" fmla="*/ 1080770 h 1080770"/>
            </a:gdLst>
            <a:ahLst/>
            <a:cxnLst>
              <a:cxn ang="0">
                <a:pos x="connsiteX0" y="connsiteY0"/>
              </a:cxn>
              <a:cxn ang="0">
                <a:pos x="connsiteX1" y="connsiteY1"/>
              </a:cxn>
              <a:cxn ang="0">
                <a:pos x="connsiteX2" y="connsiteY2"/>
              </a:cxn>
              <a:cxn ang="0">
                <a:pos x="connsiteX3" y="connsiteY3"/>
              </a:cxn>
            </a:cxnLst>
            <a:rect l="l" t="t" r="r" b="b"/>
            <a:pathLst>
              <a:path w="1528826" h="1080770">
                <a:moveTo>
                  <a:pt x="0" y="0"/>
                </a:moveTo>
                <a:lnTo>
                  <a:pt x="1020763" y="0"/>
                </a:lnTo>
                <a:cubicBezTo>
                  <a:pt x="1020763" y="0"/>
                  <a:pt x="1528826" y="1080770"/>
                  <a:pt x="1528826" y="1080770"/>
                </a:cubicBezTo>
                <a:lnTo>
                  <a:pt x="508064" y="1080770"/>
                </a:lnTo>
                <a:close/>
              </a:path>
            </a:pathLst>
          </a:custGeom>
          <a:solidFill>
            <a:schemeClr val="bg1">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20" name="Free-form: Shape 19">
            <a:extLst>
              <a:ext uri="{FF2B5EF4-FFF2-40B4-BE49-F238E27FC236}">
                <a16:creationId xmlns:a16="http://schemas.microsoft.com/office/drawing/2014/main" id="{4F58802B-D330-A2B6-78BA-53CF020A45D1}"/>
              </a:ext>
            </a:extLst>
          </p:cNvPr>
          <p:cNvSpPr/>
          <p:nvPr userDrawn="1"/>
        </p:nvSpPr>
        <p:spPr>
          <a:xfrm>
            <a:off x="6979411" y="635000"/>
            <a:ext cx="1328546" cy="936625"/>
          </a:xfrm>
          <a:custGeom>
            <a:avLst/>
            <a:gdLst>
              <a:gd name="connsiteX0" fmla="*/ 442848 w 1328546"/>
              <a:gd name="connsiteY0" fmla="*/ 0 h 936625"/>
              <a:gd name="connsiteX1" fmla="*/ 442849 w 1328546"/>
              <a:gd name="connsiteY1" fmla="*/ 0 h 936625"/>
              <a:gd name="connsiteX2" fmla="*/ 1328546 w 1328546"/>
              <a:gd name="connsiteY2" fmla="*/ 0 h 936625"/>
              <a:gd name="connsiteX3" fmla="*/ 885698 w 1328546"/>
              <a:gd name="connsiteY3" fmla="*/ 936624 h 936625"/>
              <a:gd name="connsiteX4" fmla="*/ 885698 w 1328546"/>
              <a:gd name="connsiteY4" fmla="*/ 936625 h 936625"/>
              <a:gd name="connsiteX5" fmla="*/ 885697 w 1328546"/>
              <a:gd name="connsiteY5" fmla="*/ 936625 h 936625"/>
              <a:gd name="connsiteX6" fmla="*/ 0 w 1328546"/>
              <a:gd name="connsiteY6" fmla="*/ 936625 h 936625"/>
              <a:gd name="connsiteX7" fmla="*/ 442849 w 1328546"/>
              <a:gd name="connsiteY7" fmla="*/ 1 h 93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8546" h="936625">
                <a:moveTo>
                  <a:pt x="442848" y="0"/>
                </a:moveTo>
                <a:lnTo>
                  <a:pt x="442849" y="0"/>
                </a:lnTo>
                <a:lnTo>
                  <a:pt x="1328546" y="0"/>
                </a:lnTo>
                <a:lnTo>
                  <a:pt x="885698" y="936624"/>
                </a:lnTo>
                <a:lnTo>
                  <a:pt x="885698" y="936625"/>
                </a:lnTo>
                <a:lnTo>
                  <a:pt x="885697" y="936625"/>
                </a:lnTo>
                <a:lnTo>
                  <a:pt x="0" y="936625"/>
                </a:lnTo>
                <a:lnTo>
                  <a:pt x="442849" y="1"/>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25" name="Free-form: Shape 24">
            <a:extLst>
              <a:ext uri="{FF2B5EF4-FFF2-40B4-BE49-F238E27FC236}">
                <a16:creationId xmlns:a16="http://schemas.microsoft.com/office/drawing/2014/main" id="{DDE40EF4-2A05-F46C-D09E-6686E71CE62C}"/>
              </a:ext>
            </a:extLst>
          </p:cNvPr>
          <p:cNvSpPr/>
          <p:nvPr userDrawn="1"/>
        </p:nvSpPr>
        <p:spPr>
          <a:xfrm>
            <a:off x="6536563" y="635000"/>
            <a:ext cx="1328547" cy="936625"/>
          </a:xfrm>
          <a:custGeom>
            <a:avLst/>
            <a:gdLst>
              <a:gd name="connsiteX0" fmla="*/ 0 w 1328547"/>
              <a:gd name="connsiteY0" fmla="*/ 0 h 936625"/>
              <a:gd name="connsiteX1" fmla="*/ 885698 w 1328547"/>
              <a:gd name="connsiteY1" fmla="*/ 0 h 936625"/>
              <a:gd name="connsiteX2" fmla="*/ 1328547 w 1328547"/>
              <a:gd name="connsiteY2" fmla="*/ 936625 h 936625"/>
              <a:gd name="connsiteX3" fmla="*/ 442849 w 1328547"/>
              <a:gd name="connsiteY3" fmla="*/ 936625 h 936625"/>
              <a:gd name="connsiteX4" fmla="*/ 0 w 1328547"/>
              <a:gd name="connsiteY4" fmla="*/ 0 h 93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547" h="936625">
                <a:moveTo>
                  <a:pt x="0" y="0"/>
                </a:moveTo>
                <a:lnTo>
                  <a:pt x="885698" y="0"/>
                </a:lnTo>
                <a:lnTo>
                  <a:pt x="1328547" y="936625"/>
                </a:lnTo>
                <a:lnTo>
                  <a:pt x="442849" y="936625"/>
                </a:lnTo>
                <a:cubicBezTo>
                  <a:pt x="442849" y="936625"/>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91FC1E-073B-4EF6-BAF4-CDE908D76531}" type="datetime1">
              <a:rPr lang="en-GB" smtClean="0"/>
              <a:t>31/07/2023</a:t>
            </a:fld>
            <a:endParaRPr lang="en-GB"/>
          </a:p>
        </p:txBody>
      </p:sp>
      <p:sp>
        <p:nvSpPr>
          <p:cNvPr id="3" name="Footer Placeholder 2"/>
          <p:cNvSpPr>
            <a:spLocks noGrp="1"/>
          </p:cNvSpPr>
          <p:nvPr>
            <p:ph type="ftr" sz="quarter" idx="11"/>
          </p:nvPr>
        </p:nvSpPr>
        <p:spPr/>
        <p:txBody>
          <a:bodyPr/>
          <a:lstStyle/>
          <a:p>
            <a:r>
              <a:rPr lang="en-GB"/>
              <a:t>To add a Footer, select 'Insert &gt; Header &amp; Footer'</a:t>
            </a:r>
          </a:p>
        </p:txBody>
      </p:sp>
      <p:sp>
        <p:nvSpPr>
          <p:cNvPr id="4" name="Slide Number Placeholder 3"/>
          <p:cNvSpPr>
            <a:spLocks noGrp="1"/>
          </p:cNvSpPr>
          <p:nvPr>
            <p:ph type="sldNum" sz="quarter" idx="12"/>
          </p:nvPr>
        </p:nvSpPr>
        <p:spPr/>
        <p:txBody>
          <a:bodyPr/>
          <a:lstStyle/>
          <a:p>
            <a:fld id="{F5AEA0E0-5CC6-4BD0-905C-A0021E419432}" type="slidenum">
              <a:rPr lang="en-GB" smtClean="0"/>
              <a:t>‹#›</a:t>
            </a:fld>
            <a:endParaRPr lang="en-GB"/>
          </a:p>
        </p:txBody>
      </p:sp>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accent6"/>
                </a:solidFill>
              </a:defRPr>
            </a:lvl1pPr>
          </a:lstStyle>
          <a:p>
            <a:fld id="{AF179335-A296-40E9-9685-671152668FF7}" type="datetime1">
              <a:rPr lang="en-GB" smtClean="0"/>
              <a:pPr/>
              <a:t>31/07/2023</a:t>
            </a:fld>
            <a:endParaRPr lang="en-GB"/>
          </a:p>
        </p:txBody>
      </p:sp>
      <p:sp>
        <p:nvSpPr>
          <p:cNvPr id="3" name="Footer Placeholder 2"/>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p>
        </p:txBody>
      </p:sp>
      <p:sp>
        <p:nvSpPr>
          <p:cNvPr id="4" name="Slide Number Placeholder 3"/>
          <p:cNvSpPr>
            <a:spLocks noGrp="1"/>
          </p:cNvSpPr>
          <p:nvPr>
            <p:ph type="sldNum" sz="quarter" idx="12"/>
          </p:nvPr>
        </p:nvSpPr>
        <p:spPr/>
        <p:txBody>
          <a:bodyPr/>
          <a:lstStyle>
            <a:lvl1pPr>
              <a:defRPr>
                <a:solidFill>
                  <a:schemeClr val="accent6"/>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1077151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BAB11CFF-20DB-F824-5507-317D7C27F614}"/>
              </a:ext>
            </a:extLst>
          </p:cNvPr>
          <p:cNvSpPr/>
          <p:nvPr/>
        </p:nvSpPr>
        <p:spPr>
          <a:xfrm>
            <a:off x="0" y="2222500"/>
            <a:ext cx="12192000" cy="4000500"/>
          </a:xfrm>
          <a:custGeom>
            <a:avLst/>
            <a:gdLst>
              <a:gd name="connsiteX0" fmla="*/ 0 w 12192000"/>
              <a:gd name="connsiteY0" fmla="*/ 0 h 4000500"/>
              <a:gd name="connsiteX1" fmla="*/ 12192000 w 12192000"/>
              <a:gd name="connsiteY1" fmla="*/ 0 h 4000500"/>
              <a:gd name="connsiteX2" fmla="*/ 12192000 w 12192000"/>
              <a:gd name="connsiteY2" fmla="*/ 4000500 h 4000500"/>
              <a:gd name="connsiteX3" fmla="*/ 0 w 12192000"/>
              <a:gd name="connsiteY3" fmla="*/ 4000500 h 4000500"/>
            </a:gdLst>
            <a:ahLst/>
            <a:cxnLst>
              <a:cxn ang="0">
                <a:pos x="connsiteX0" y="connsiteY0"/>
              </a:cxn>
              <a:cxn ang="0">
                <a:pos x="connsiteX1" y="connsiteY1"/>
              </a:cxn>
              <a:cxn ang="0">
                <a:pos x="connsiteX2" y="connsiteY2"/>
              </a:cxn>
              <a:cxn ang="0">
                <a:pos x="connsiteX3" y="connsiteY3"/>
              </a:cxn>
            </a:cxnLst>
            <a:rect l="l" t="t" r="r" b="b"/>
            <a:pathLst>
              <a:path w="12192000" h="4000500">
                <a:moveTo>
                  <a:pt x="0" y="0"/>
                </a:moveTo>
                <a:lnTo>
                  <a:pt x="12192000" y="0"/>
                </a:lnTo>
                <a:lnTo>
                  <a:pt x="12192000" y="4000500"/>
                </a:lnTo>
                <a:lnTo>
                  <a:pt x="0" y="4000500"/>
                </a:lnTo>
                <a:close/>
              </a:path>
            </a:pathLst>
          </a:custGeom>
          <a:solidFill>
            <a:schemeClr val="accent6"/>
          </a:solidFill>
          <a:ln w="635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D5C2211F-CDAF-809F-4B88-EDA1A131FB79}"/>
              </a:ext>
            </a:extLst>
          </p:cNvPr>
          <p:cNvSpPr/>
          <p:nvPr/>
        </p:nvSpPr>
        <p:spPr>
          <a:xfrm>
            <a:off x="6413944" y="3978402"/>
            <a:ext cx="3486658" cy="2879597"/>
          </a:xfrm>
          <a:custGeom>
            <a:avLst/>
            <a:gdLst>
              <a:gd name="connsiteX0" fmla="*/ 1366774 w 3486658"/>
              <a:gd name="connsiteY0" fmla="*/ 0 h 2879597"/>
              <a:gd name="connsiteX1" fmla="*/ 299275 w 3486658"/>
              <a:gd name="connsiteY1" fmla="*/ 2249424 h 2879597"/>
              <a:gd name="connsiteX2" fmla="*/ 0 w 3486658"/>
              <a:gd name="connsiteY2" fmla="*/ 2879598 h 2879597"/>
              <a:gd name="connsiteX3" fmla="*/ 2120456 w 3486658"/>
              <a:gd name="connsiteY3" fmla="*/ 2879598 h 2879597"/>
              <a:gd name="connsiteX4" fmla="*/ 3486658 w 3486658"/>
              <a:gd name="connsiteY4" fmla="*/ 0 h 2879597"/>
              <a:gd name="connsiteX5" fmla="*/ 1366774 w 3486658"/>
              <a:gd name="connsiteY5" fmla="*/ 0 h 287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86658" h="2879597">
                <a:moveTo>
                  <a:pt x="1366774" y="0"/>
                </a:moveTo>
                <a:lnTo>
                  <a:pt x="299275" y="2249424"/>
                </a:lnTo>
                <a:lnTo>
                  <a:pt x="0" y="2879598"/>
                </a:lnTo>
                <a:lnTo>
                  <a:pt x="2120456" y="2879598"/>
                </a:lnTo>
                <a:lnTo>
                  <a:pt x="3486658" y="0"/>
                </a:lnTo>
                <a:lnTo>
                  <a:pt x="1366774" y="0"/>
                </a:lnTo>
                <a:close/>
              </a:path>
            </a:pathLst>
          </a:custGeom>
          <a:solidFill>
            <a:srgbClr val="00B1A8"/>
          </a:solidFill>
          <a:ln w="635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E1DFFED7-688B-50BA-7278-6025FD9F8DE4}"/>
              </a:ext>
            </a:extLst>
          </p:cNvPr>
          <p:cNvSpPr/>
          <p:nvPr/>
        </p:nvSpPr>
        <p:spPr>
          <a:xfrm>
            <a:off x="6715315" y="3978402"/>
            <a:ext cx="2120265" cy="2244597"/>
          </a:xfrm>
          <a:custGeom>
            <a:avLst/>
            <a:gdLst>
              <a:gd name="connsiteX0" fmla="*/ 1065403 w 2120265"/>
              <a:gd name="connsiteY0" fmla="*/ 0 h 2244597"/>
              <a:gd name="connsiteX1" fmla="*/ 0 w 2120265"/>
              <a:gd name="connsiteY1" fmla="*/ 2244598 h 2244597"/>
              <a:gd name="connsiteX2" fmla="*/ 2120265 w 2120265"/>
              <a:gd name="connsiteY2" fmla="*/ 2244598 h 2244597"/>
              <a:gd name="connsiteX3" fmla="*/ 1065340 w 2120265"/>
              <a:gd name="connsiteY3" fmla="*/ 0 h 2244597"/>
            </a:gdLst>
            <a:ahLst/>
            <a:cxnLst>
              <a:cxn ang="0">
                <a:pos x="connsiteX0" y="connsiteY0"/>
              </a:cxn>
              <a:cxn ang="0">
                <a:pos x="connsiteX1" y="connsiteY1"/>
              </a:cxn>
              <a:cxn ang="0">
                <a:pos x="connsiteX2" y="connsiteY2"/>
              </a:cxn>
              <a:cxn ang="0">
                <a:pos x="connsiteX3" y="connsiteY3"/>
              </a:cxn>
            </a:cxnLst>
            <a:rect l="l" t="t" r="r" b="b"/>
            <a:pathLst>
              <a:path w="2120265" h="2244597">
                <a:moveTo>
                  <a:pt x="1065403" y="0"/>
                </a:moveTo>
                <a:lnTo>
                  <a:pt x="0" y="2244598"/>
                </a:lnTo>
                <a:lnTo>
                  <a:pt x="2120265" y="2244598"/>
                </a:lnTo>
                <a:lnTo>
                  <a:pt x="1065340" y="0"/>
                </a:lnTo>
                <a:close/>
              </a:path>
            </a:pathLst>
          </a:custGeom>
          <a:solidFill>
            <a:srgbClr val="FFFFFF">
              <a:alpha val="30000"/>
            </a:srgbClr>
          </a:solidFill>
          <a:ln w="635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D1961E10-0ACD-4273-B74B-A5FC406C19C6}"/>
              </a:ext>
            </a:extLst>
          </p:cNvPr>
          <p:cNvSpPr/>
          <p:nvPr/>
        </p:nvSpPr>
        <p:spPr>
          <a:xfrm>
            <a:off x="7780718" y="3978402"/>
            <a:ext cx="3174682" cy="2244597"/>
          </a:xfrm>
          <a:custGeom>
            <a:avLst/>
            <a:gdLst>
              <a:gd name="connsiteX0" fmla="*/ 0 w 3174682"/>
              <a:gd name="connsiteY0" fmla="*/ 0 h 2244597"/>
              <a:gd name="connsiteX1" fmla="*/ 1054925 w 3174682"/>
              <a:gd name="connsiteY1" fmla="*/ 2244598 h 2244597"/>
              <a:gd name="connsiteX2" fmla="*/ 3174682 w 3174682"/>
              <a:gd name="connsiteY2" fmla="*/ 2244598 h 2244597"/>
              <a:gd name="connsiteX3" fmla="*/ 2119757 w 3174682"/>
              <a:gd name="connsiteY3" fmla="*/ 0 h 2244597"/>
              <a:gd name="connsiteX4" fmla="*/ 0 w 3174682"/>
              <a:gd name="connsiteY4" fmla="*/ 0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4682" h="2244597">
                <a:moveTo>
                  <a:pt x="0" y="0"/>
                </a:moveTo>
                <a:lnTo>
                  <a:pt x="1054925" y="2244598"/>
                </a:lnTo>
                <a:lnTo>
                  <a:pt x="3174682" y="2244598"/>
                </a:lnTo>
                <a:cubicBezTo>
                  <a:pt x="3174682" y="2244598"/>
                  <a:pt x="2119757" y="0"/>
                  <a:pt x="2119757" y="0"/>
                </a:cubicBezTo>
                <a:lnTo>
                  <a:pt x="0" y="0"/>
                </a:lnTo>
                <a:close/>
              </a:path>
            </a:pathLst>
          </a:custGeom>
          <a:solidFill>
            <a:srgbClr val="FFFFFF">
              <a:alpha val="50000"/>
            </a:srgbClr>
          </a:solidFill>
          <a:ln w="635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DCBA8527-AAC2-AE8C-AE99-3ED3855615A2}"/>
              </a:ext>
            </a:extLst>
          </p:cNvPr>
          <p:cNvSpPr/>
          <p:nvPr/>
        </p:nvSpPr>
        <p:spPr>
          <a:xfrm>
            <a:off x="6126162" y="0"/>
            <a:ext cx="3547998" cy="3978402"/>
          </a:xfrm>
          <a:custGeom>
            <a:avLst/>
            <a:gdLst>
              <a:gd name="connsiteX0" fmla="*/ 1654556 w 3547998"/>
              <a:gd name="connsiteY0" fmla="*/ 3978402 h 3978402"/>
              <a:gd name="connsiteX1" fmla="*/ 3547999 w 3547998"/>
              <a:gd name="connsiteY1" fmla="*/ 0 h 3978402"/>
              <a:gd name="connsiteX2" fmla="*/ 1877314 w 3547998"/>
              <a:gd name="connsiteY2" fmla="*/ 0 h 3978402"/>
              <a:gd name="connsiteX3" fmla="*/ 0 w 3547998"/>
              <a:gd name="connsiteY3" fmla="*/ 3978402 h 3978402"/>
              <a:gd name="connsiteX4" fmla="*/ 1654556 w 3547998"/>
              <a:gd name="connsiteY4" fmla="*/ 3978402 h 397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7998" h="3978402">
                <a:moveTo>
                  <a:pt x="1654556" y="3978402"/>
                </a:moveTo>
                <a:lnTo>
                  <a:pt x="3547999" y="0"/>
                </a:lnTo>
                <a:lnTo>
                  <a:pt x="1877314" y="0"/>
                </a:lnTo>
                <a:lnTo>
                  <a:pt x="0" y="3978402"/>
                </a:lnTo>
                <a:lnTo>
                  <a:pt x="1654556" y="3978402"/>
                </a:lnTo>
                <a:close/>
              </a:path>
            </a:pathLst>
          </a:custGeom>
          <a:solidFill>
            <a:srgbClr val="CDDB00"/>
          </a:solidFill>
          <a:ln w="635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BDB4C663-9154-C5E2-2448-06B2DBCE67CB}"/>
              </a:ext>
            </a:extLst>
          </p:cNvPr>
          <p:cNvSpPr/>
          <p:nvPr/>
        </p:nvSpPr>
        <p:spPr>
          <a:xfrm>
            <a:off x="6954710" y="2222500"/>
            <a:ext cx="1661668" cy="1755902"/>
          </a:xfrm>
          <a:custGeom>
            <a:avLst/>
            <a:gdLst>
              <a:gd name="connsiteX0" fmla="*/ 826009 w 1661668"/>
              <a:gd name="connsiteY0" fmla="*/ 1755902 h 1755902"/>
              <a:gd name="connsiteX1" fmla="*/ 1661668 w 1661668"/>
              <a:gd name="connsiteY1" fmla="*/ 0 h 1755902"/>
              <a:gd name="connsiteX2" fmla="*/ 0 w 1661668"/>
              <a:gd name="connsiteY2" fmla="*/ 0 h 1755902"/>
              <a:gd name="connsiteX3" fmla="*/ 826009 w 1661668"/>
              <a:gd name="connsiteY3" fmla="*/ 1755902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826009" y="1755902"/>
                </a:moveTo>
                <a:lnTo>
                  <a:pt x="1661668" y="0"/>
                </a:lnTo>
                <a:lnTo>
                  <a:pt x="0" y="0"/>
                </a:lnTo>
                <a:cubicBezTo>
                  <a:pt x="0" y="0"/>
                  <a:pt x="826009" y="1755902"/>
                  <a:pt x="826009" y="1755902"/>
                </a:cubicBezTo>
                <a:close/>
              </a:path>
            </a:pathLst>
          </a:custGeom>
          <a:solidFill>
            <a:srgbClr val="FFFFFF">
              <a:alpha val="30000"/>
            </a:srgbClr>
          </a:solidFill>
          <a:ln w="635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ADB7A50D-4182-FFB2-310E-7320D789B12C}"/>
              </a:ext>
            </a:extLst>
          </p:cNvPr>
          <p:cNvSpPr/>
          <p:nvPr/>
        </p:nvSpPr>
        <p:spPr>
          <a:xfrm>
            <a:off x="5300154" y="2222500"/>
            <a:ext cx="2480564" cy="1755902"/>
          </a:xfrm>
          <a:custGeom>
            <a:avLst/>
            <a:gdLst>
              <a:gd name="connsiteX0" fmla="*/ 2480565 w 2480564"/>
              <a:gd name="connsiteY0" fmla="*/ 1755902 h 1755902"/>
              <a:gd name="connsiteX1" fmla="*/ 1654556 w 2480564"/>
              <a:gd name="connsiteY1" fmla="*/ 0 h 1755902"/>
              <a:gd name="connsiteX2" fmla="*/ 0 w 2480564"/>
              <a:gd name="connsiteY2" fmla="*/ 0 h 1755902"/>
              <a:gd name="connsiteX3" fmla="*/ 826008 w 2480564"/>
              <a:gd name="connsiteY3" fmla="*/ 1755902 h 1755902"/>
              <a:gd name="connsiteX4" fmla="*/ 2480565 w 2480564"/>
              <a:gd name="connsiteY4" fmla="*/ 1755902 h 175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564" h="1755902">
                <a:moveTo>
                  <a:pt x="2480565" y="1755902"/>
                </a:moveTo>
                <a:lnTo>
                  <a:pt x="1654556" y="0"/>
                </a:lnTo>
                <a:lnTo>
                  <a:pt x="0" y="0"/>
                </a:lnTo>
                <a:cubicBezTo>
                  <a:pt x="0" y="0"/>
                  <a:pt x="826008" y="1755902"/>
                  <a:pt x="826008" y="1755902"/>
                </a:cubicBezTo>
                <a:lnTo>
                  <a:pt x="2480565" y="1755902"/>
                </a:lnTo>
                <a:close/>
              </a:path>
            </a:pathLst>
          </a:custGeom>
          <a:solidFill>
            <a:srgbClr val="FFFFFF">
              <a:alpha val="50000"/>
            </a:srgbClr>
          </a:solidFill>
          <a:ln w="6350" cap="flat">
            <a:noFill/>
            <a:prstDash val="solid"/>
            <a:miter/>
          </a:ln>
        </p:spPr>
        <p:txBody>
          <a:bodyPr rtlCol="0" anchor="ctr"/>
          <a:lstStyle/>
          <a:p>
            <a:endParaRPr lang="en-AU"/>
          </a:p>
        </p:txBody>
      </p:sp>
      <p:pic>
        <p:nvPicPr>
          <p:cNvPr id="5" name="Graphic 4">
            <a:extLst>
              <a:ext uri="{FF2B5EF4-FFF2-40B4-BE49-F238E27FC236}">
                <a16:creationId xmlns:a16="http://schemas.microsoft.com/office/drawing/2014/main" id="{D7EF04EB-0482-5775-6DD9-DFD8DBF5AD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3472" y="781945"/>
            <a:ext cx="2174677" cy="667912"/>
          </a:xfrm>
          <a:prstGeom prst="rect">
            <a:avLst/>
          </a:prstGeom>
        </p:spPr>
      </p:pic>
      <p:sp>
        <p:nvSpPr>
          <p:cNvPr id="12" name="Footer Placeholder 4">
            <a:extLst>
              <a:ext uri="{FF2B5EF4-FFF2-40B4-BE49-F238E27FC236}">
                <a16:creationId xmlns:a16="http://schemas.microsoft.com/office/drawing/2014/main" id="{A100E9CA-597C-8D3A-F40C-33281AC44A24}"/>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13" name="Slide Number Placeholder 5">
            <a:extLst>
              <a:ext uri="{FF2B5EF4-FFF2-40B4-BE49-F238E27FC236}">
                <a16:creationId xmlns:a16="http://schemas.microsoft.com/office/drawing/2014/main" id="{E4FF72CD-FCEB-896C-7975-222BFDF5C5BA}"/>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a:t>Page </a:t>
            </a:r>
            <a:fld id="{F5AEA0E0-5CC6-4BD0-905C-A0021E419432}" type="slidenum">
              <a:rPr lang="en-GB" smtClean="0"/>
              <a:pPr/>
              <a:t>‹#›</a:t>
            </a:fld>
            <a:endParaRPr lang="en-GB" dirty="0"/>
          </a:p>
        </p:txBody>
      </p:sp>
      <p:cxnSp>
        <p:nvCxnSpPr>
          <p:cNvPr id="14" name="Straight Connector 13">
            <a:extLst>
              <a:ext uri="{FF2B5EF4-FFF2-40B4-BE49-F238E27FC236}">
                <a16:creationId xmlns:a16="http://schemas.microsoft.com/office/drawing/2014/main" id="{20306DDC-F26C-45D8-D01F-068BDCCCCEF4}"/>
              </a:ext>
            </a:extLst>
          </p:cNvPr>
          <p:cNvCxnSpPr/>
          <p:nvPr/>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647698" y="557638"/>
            <a:ext cx="6120000" cy="1440000"/>
          </a:xfrm>
        </p:spPr>
        <p:txBody>
          <a:bodyPr/>
          <a:lstStyle>
            <a:lvl1pPr marL="0" indent="0" algn="l">
              <a:buNone/>
              <a:defRPr sz="3100" b="0">
                <a:solidFill>
                  <a:schemeClr val="accent6"/>
                </a:solidFill>
              </a:defRPr>
            </a:lvl1pPr>
            <a:lvl2pPr marL="0" indent="0" algn="l">
              <a:buNone/>
              <a:defRPr sz="2300" b="0">
                <a:solidFill>
                  <a:schemeClr val="accent6"/>
                </a:solidFill>
              </a:defRPr>
            </a:lvl2pPr>
            <a:lvl3pPr marL="0" indent="0" algn="l">
              <a:buNone/>
              <a:defRPr sz="2300" b="0">
                <a:solidFill>
                  <a:schemeClr val="accent6"/>
                </a:solidFill>
              </a:defRPr>
            </a:lvl3pPr>
            <a:lvl4pPr marL="0" indent="0" algn="l">
              <a:buNone/>
              <a:defRPr sz="2300" b="0">
                <a:solidFill>
                  <a:schemeClr val="accent6"/>
                </a:solidFill>
              </a:defRPr>
            </a:lvl4pPr>
            <a:lvl5pPr marL="0" indent="0" algn="l">
              <a:buNone/>
              <a:defRPr sz="2300" b="0">
                <a:solidFill>
                  <a:schemeClr val="accent6"/>
                </a:solidFill>
              </a:defRPr>
            </a:lvl5pPr>
            <a:lvl6pPr marL="0" indent="0" algn="l">
              <a:buNone/>
              <a:defRPr sz="2300" b="0">
                <a:solidFill>
                  <a:schemeClr val="accent6"/>
                </a:solidFill>
              </a:defRPr>
            </a:lvl6pPr>
            <a:lvl7pPr marL="0" indent="0" algn="l">
              <a:buNone/>
              <a:defRPr sz="2300" b="0">
                <a:solidFill>
                  <a:schemeClr val="accent6"/>
                </a:solidFill>
              </a:defRPr>
            </a:lvl7pPr>
            <a:lvl8pPr marL="0" indent="0" algn="l">
              <a:buNone/>
              <a:defRPr sz="2300" b="0">
                <a:solidFill>
                  <a:schemeClr val="accent6"/>
                </a:solidFill>
              </a:defRPr>
            </a:lvl8pPr>
            <a:lvl9pPr marL="0" indent="0" algn="l">
              <a:buNone/>
              <a:defRPr sz="2300" b="0">
                <a:solidFill>
                  <a:schemeClr val="accent6"/>
                </a:solidFill>
              </a:defRPr>
            </a:lvl9pPr>
          </a:lstStyle>
          <a:p>
            <a:r>
              <a:rPr lang="en-AU" dirty="0"/>
              <a:t>Title heading-first level</a:t>
            </a:r>
            <a:endParaRPr lang="en-GB" dirty="0"/>
          </a:p>
          <a:p>
            <a:pPr lvl="1"/>
            <a:r>
              <a:rPr lang="en-US" dirty="0"/>
              <a:t>Subheading-second level</a:t>
            </a:r>
            <a:endParaRPr lang="en-GB" dirty="0"/>
          </a:p>
        </p:txBody>
      </p:sp>
    </p:spTree>
    <p:extLst>
      <p:ext uri="{BB962C8B-B14F-4D97-AF65-F5344CB8AC3E}">
        <p14:creationId xmlns:p14="http://schemas.microsoft.com/office/powerpoint/2010/main" val="89641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3C709AB-4378-5A5C-77FC-AFC13E4152E7}"/>
              </a:ext>
            </a:extLst>
          </p:cNvPr>
          <p:cNvSpPr/>
          <p:nvPr userDrawn="1"/>
        </p:nvSpPr>
        <p:spPr>
          <a:xfrm>
            <a:off x="6954721" y="0"/>
            <a:ext cx="2719440" cy="3978401"/>
          </a:xfrm>
          <a:custGeom>
            <a:avLst/>
            <a:gdLst>
              <a:gd name="connsiteX0" fmla="*/ 1048755 w 2719440"/>
              <a:gd name="connsiteY0" fmla="*/ 0 h 3978401"/>
              <a:gd name="connsiteX1" fmla="*/ 2719440 w 2719440"/>
              <a:gd name="connsiteY1" fmla="*/ 0 h 3978401"/>
              <a:gd name="connsiteX2" fmla="*/ 825998 w 2719440"/>
              <a:gd name="connsiteY2" fmla="*/ 3978401 h 3978401"/>
              <a:gd name="connsiteX3" fmla="*/ 0 w 2719440"/>
              <a:gd name="connsiteY3" fmla="*/ 2222522 h 3978401"/>
              <a:gd name="connsiteX4" fmla="*/ 1048755 w 2719440"/>
              <a:gd name="connsiteY4" fmla="*/ 0 h 397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9440" h="3978401">
                <a:moveTo>
                  <a:pt x="1048755" y="0"/>
                </a:moveTo>
                <a:lnTo>
                  <a:pt x="2719440" y="0"/>
                </a:lnTo>
                <a:lnTo>
                  <a:pt x="825998" y="3978401"/>
                </a:lnTo>
                <a:lnTo>
                  <a:pt x="0" y="2222522"/>
                </a:lnTo>
                <a:lnTo>
                  <a:pt x="1048755" y="0"/>
                </a:lnTo>
                <a:close/>
              </a:path>
            </a:pathLst>
          </a:custGeom>
          <a:solidFill>
            <a:schemeClr val="accent2"/>
          </a:solidFill>
          <a:ln w="6350" cap="flat">
            <a:noFill/>
            <a:prstDash val="solid"/>
            <a:miter/>
          </a:ln>
        </p:spPr>
        <p:txBody>
          <a:bodyPr rtlCol="0" anchor="ctr"/>
          <a:lstStyle/>
          <a:p>
            <a:endParaRPr lang="en-AU"/>
          </a:p>
        </p:txBody>
      </p:sp>
      <p:pic>
        <p:nvPicPr>
          <p:cNvPr id="65" name="Graphic 64">
            <a:extLst>
              <a:ext uri="{FF2B5EF4-FFF2-40B4-BE49-F238E27FC236}">
                <a16:creationId xmlns:a16="http://schemas.microsoft.com/office/drawing/2014/main" id="{50081C3B-CBE8-C2FA-22FD-17E64BA48200}"/>
              </a:ext>
            </a:extLst>
          </p:cNvPr>
          <p:cNvPicPr>
            <a:picLocks noChangeAspect="1"/>
          </p:cNvPicPr>
          <p:nvPr userDrawn="1"/>
        </p:nvPicPr>
        <p:blipFill>
          <a:blip r:embed="rId2">
            <a:extLst>
              <a:ext uri="{96DAC541-7B7A-43D3-8B79-37D633B846F1}">
                <asvg:svgBlip xmlns:asvg="http://schemas.microsoft.com/office/drawing/2016/SVG/main" r:embed="rId3"/>
              </a:ext>
            </a:extLst>
          </a:blip>
          <a:srcRect r="5690" b="5690"/>
          <a:stretch>
            <a:fillRect/>
          </a:stretch>
        </p:blipFill>
        <p:spPr>
          <a:xfrm>
            <a:off x="6954431" y="2223398"/>
            <a:ext cx="5237571" cy="3999600"/>
          </a:xfrm>
          <a:custGeom>
            <a:avLst/>
            <a:gdLst>
              <a:gd name="connsiteX0" fmla="*/ 0 w 5237571"/>
              <a:gd name="connsiteY0" fmla="*/ 0 h 3999600"/>
              <a:gd name="connsiteX1" fmla="*/ 5237571 w 5237571"/>
              <a:gd name="connsiteY1" fmla="*/ 0 h 3999600"/>
              <a:gd name="connsiteX2" fmla="*/ 5237571 w 5237571"/>
              <a:gd name="connsiteY2" fmla="*/ 3999600 h 3999600"/>
              <a:gd name="connsiteX3" fmla="*/ 0 w 5237571"/>
              <a:gd name="connsiteY3" fmla="*/ 3999600 h 3999600"/>
              <a:gd name="connsiteX4" fmla="*/ 0 w 5237571"/>
              <a:gd name="connsiteY4" fmla="*/ 0 h 399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7571" h="3999600">
                <a:moveTo>
                  <a:pt x="0" y="0"/>
                </a:moveTo>
                <a:lnTo>
                  <a:pt x="5237571" y="0"/>
                </a:lnTo>
                <a:lnTo>
                  <a:pt x="5237571" y="3999600"/>
                </a:lnTo>
                <a:lnTo>
                  <a:pt x="0" y="3999600"/>
                </a:lnTo>
                <a:lnTo>
                  <a:pt x="0" y="0"/>
                </a:lnTo>
                <a:close/>
              </a:path>
            </a:pathLst>
          </a:custGeom>
        </p:spPr>
      </p:pic>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2222499"/>
            <a:ext cx="8836590" cy="4000500"/>
          </a:xfrm>
          <a:custGeom>
            <a:avLst/>
            <a:gdLst>
              <a:gd name="connsiteX0" fmla="*/ 0 w 12192000"/>
              <a:gd name="connsiteY0" fmla="*/ 0 h 4000500"/>
              <a:gd name="connsiteX1" fmla="*/ 12192000 w 12192000"/>
              <a:gd name="connsiteY1" fmla="*/ 0 h 4000500"/>
              <a:gd name="connsiteX2" fmla="*/ 12192000 w 12192000"/>
              <a:gd name="connsiteY2" fmla="*/ 4000500 h 4000500"/>
              <a:gd name="connsiteX3" fmla="*/ 12190350 w 12192000"/>
              <a:gd name="connsiteY3" fmla="*/ 4000500 h 4000500"/>
              <a:gd name="connsiteX4" fmla="*/ 12190350 w 12192000"/>
              <a:gd name="connsiteY4" fmla="*/ 900 h 4000500"/>
              <a:gd name="connsiteX5" fmla="*/ 6954429 w 12192000"/>
              <a:gd name="connsiteY5" fmla="*/ 900 h 4000500"/>
              <a:gd name="connsiteX6" fmla="*/ 8836590 w 12192000"/>
              <a:gd name="connsiteY6" fmla="*/ 4000500 h 4000500"/>
              <a:gd name="connsiteX7" fmla="*/ 0 w 12192000"/>
              <a:gd name="connsiteY7" fmla="*/ 4000500 h 4000500"/>
              <a:gd name="connsiteX0" fmla="*/ 0 w 12192000"/>
              <a:gd name="connsiteY0" fmla="*/ 0 h 4000500"/>
              <a:gd name="connsiteX1" fmla="*/ 12192000 w 12192000"/>
              <a:gd name="connsiteY1" fmla="*/ 0 h 4000500"/>
              <a:gd name="connsiteX2" fmla="*/ 12192000 w 12192000"/>
              <a:gd name="connsiteY2" fmla="*/ 4000500 h 4000500"/>
              <a:gd name="connsiteX3" fmla="*/ 12190350 w 12192000"/>
              <a:gd name="connsiteY3" fmla="*/ 4000500 h 4000500"/>
              <a:gd name="connsiteX4" fmla="*/ 6954429 w 12192000"/>
              <a:gd name="connsiteY4" fmla="*/ 900 h 4000500"/>
              <a:gd name="connsiteX5" fmla="*/ 8836590 w 12192000"/>
              <a:gd name="connsiteY5" fmla="*/ 4000500 h 4000500"/>
              <a:gd name="connsiteX6" fmla="*/ 0 w 12192000"/>
              <a:gd name="connsiteY6" fmla="*/ 4000500 h 4000500"/>
              <a:gd name="connsiteX7" fmla="*/ 0 w 12192000"/>
              <a:gd name="connsiteY7" fmla="*/ 0 h 4000500"/>
              <a:gd name="connsiteX0" fmla="*/ 0 w 12192000"/>
              <a:gd name="connsiteY0" fmla="*/ 0 h 4000500"/>
              <a:gd name="connsiteX1" fmla="*/ 12192000 w 12192000"/>
              <a:gd name="connsiteY1" fmla="*/ 0 h 4000500"/>
              <a:gd name="connsiteX2" fmla="*/ 12192000 w 12192000"/>
              <a:gd name="connsiteY2" fmla="*/ 4000500 h 4000500"/>
              <a:gd name="connsiteX3" fmla="*/ 6954429 w 12192000"/>
              <a:gd name="connsiteY3" fmla="*/ 900 h 4000500"/>
              <a:gd name="connsiteX4" fmla="*/ 8836590 w 12192000"/>
              <a:gd name="connsiteY4" fmla="*/ 4000500 h 4000500"/>
              <a:gd name="connsiteX5" fmla="*/ 0 w 12192000"/>
              <a:gd name="connsiteY5" fmla="*/ 4000500 h 4000500"/>
              <a:gd name="connsiteX6" fmla="*/ 0 w 12192000"/>
              <a:gd name="connsiteY6" fmla="*/ 0 h 4000500"/>
              <a:gd name="connsiteX0" fmla="*/ 0 w 12192000"/>
              <a:gd name="connsiteY0" fmla="*/ 0 h 4000500"/>
              <a:gd name="connsiteX1" fmla="*/ 12192000 w 12192000"/>
              <a:gd name="connsiteY1" fmla="*/ 0 h 4000500"/>
              <a:gd name="connsiteX2" fmla="*/ 6954429 w 12192000"/>
              <a:gd name="connsiteY2" fmla="*/ 900 h 4000500"/>
              <a:gd name="connsiteX3" fmla="*/ 8836590 w 12192000"/>
              <a:gd name="connsiteY3" fmla="*/ 4000500 h 4000500"/>
              <a:gd name="connsiteX4" fmla="*/ 0 w 12192000"/>
              <a:gd name="connsiteY4" fmla="*/ 4000500 h 4000500"/>
              <a:gd name="connsiteX5" fmla="*/ 0 w 12192000"/>
              <a:gd name="connsiteY5" fmla="*/ 0 h 4000500"/>
              <a:gd name="connsiteX0" fmla="*/ 0 w 8836590"/>
              <a:gd name="connsiteY0" fmla="*/ 0 h 4000500"/>
              <a:gd name="connsiteX1" fmla="*/ 6954429 w 8836590"/>
              <a:gd name="connsiteY1" fmla="*/ 900 h 4000500"/>
              <a:gd name="connsiteX2" fmla="*/ 8836590 w 8836590"/>
              <a:gd name="connsiteY2" fmla="*/ 4000500 h 4000500"/>
              <a:gd name="connsiteX3" fmla="*/ 0 w 8836590"/>
              <a:gd name="connsiteY3" fmla="*/ 4000500 h 4000500"/>
              <a:gd name="connsiteX4" fmla="*/ 0 w 8836590"/>
              <a:gd name="connsiteY4" fmla="*/ 0 h 400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590" h="4000500">
                <a:moveTo>
                  <a:pt x="0" y="0"/>
                </a:moveTo>
                <a:lnTo>
                  <a:pt x="6954429" y="900"/>
                </a:lnTo>
                <a:lnTo>
                  <a:pt x="8836590" y="4000500"/>
                </a:lnTo>
                <a:lnTo>
                  <a:pt x="0" y="4000500"/>
                </a:lnTo>
                <a:lnTo>
                  <a:pt x="0" y="0"/>
                </a:lnTo>
                <a:close/>
              </a:path>
            </a:pathLst>
          </a:custGeom>
          <a:solidFill>
            <a:schemeClr val="bg1">
              <a:lumMod val="75000"/>
            </a:schemeClr>
          </a:solidFill>
        </p:spPr>
        <p:txBody>
          <a:bodyPr wrap="square" lIns="648000" tIns="288000" rIns="4680000" bIns="360000" anchor="t" anchorCtr="0">
            <a:noAutofit/>
          </a:bodyPr>
          <a:lstStyle>
            <a:lvl1pPr algn="l">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44" name="Text Placeholder 43">
            <a:extLst>
              <a:ext uri="{FF2B5EF4-FFF2-40B4-BE49-F238E27FC236}">
                <a16:creationId xmlns:a16="http://schemas.microsoft.com/office/drawing/2014/main" id="{BEDA4826-2F46-1CDA-C124-CB146B6394B6}"/>
              </a:ext>
            </a:extLst>
          </p:cNvPr>
          <p:cNvSpPr>
            <a:spLocks noGrp="1"/>
          </p:cNvSpPr>
          <p:nvPr>
            <p:ph type="body" sz="quarter" idx="21"/>
          </p:nvPr>
        </p:nvSpPr>
        <p:spPr>
          <a:xfrm>
            <a:off x="7780717" y="3978402"/>
            <a:ext cx="3174682" cy="2244598"/>
          </a:xfrm>
          <a:custGeom>
            <a:avLst/>
            <a:gdLst>
              <a:gd name="connsiteX0" fmla="*/ 0 w 3174682"/>
              <a:gd name="connsiteY0" fmla="*/ 0 h 2244598"/>
              <a:gd name="connsiteX1" fmla="*/ 2119757 w 3174682"/>
              <a:gd name="connsiteY1" fmla="*/ 0 h 2244598"/>
              <a:gd name="connsiteX2" fmla="*/ 3174682 w 3174682"/>
              <a:gd name="connsiteY2" fmla="*/ 2244598 h 2244598"/>
              <a:gd name="connsiteX3" fmla="*/ 1054925 w 3174682"/>
              <a:gd name="connsiteY3" fmla="*/ 2244598 h 2244598"/>
            </a:gdLst>
            <a:ahLst/>
            <a:cxnLst>
              <a:cxn ang="0">
                <a:pos x="connsiteX0" y="connsiteY0"/>
              </a:cxn>
              <a:cxn ang="0">
                <a:pos x="connsiteX1" y="connsiteY1"/>
              </a:cxn>
              <a:cxn ang="0">
                <a:pos x="connsiteX2" y="connsiteY2"/>
              </a:cxn>
              <a:cxn ang="0">
                <a:pos x="connsiteX3" y="connsiteY3"/>
              </a:cxn>
            </a:cxnLst>
            <a:rect l="l" t="t" r="r" b="b"/>
            <a:pathLst>
              <a:path w="3174682" h="2244598">
                <a:moveTo>
                  <a:pt x="0" y="0"/>
                </a:moveTo>
                <a:lnTo>
                  <a:pt x="2119757" y="0"/>
                </a:lnTo>
                <a:cubicBezTo>
                  <a:pt x="2119757" y="0"/>
                  <a:pt x="3174682" y="2244598"/>
                  <a:pt x="3174682" y="2244598"/>
                </a:cubicBezTo>
                <a:lnTo>
                  <a:pt x="1054925" y="2244598"/>
                </a:lnTo>
                <a:close/>
              </a:path>
            </a:pathLst>
          </a:custGeom>
          <a:solidFill>
            <a:schemeClr val="bg1">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5" name="Graphic 4">
            <a:extLst>
              <a:ext uri="{FF2B5EF4-FFF2-40B4-BE49-F238E27FC236}">
                <a16:creationId xmlns:a16="http://schemas.microsoft.com/office/drawing/2014/main" id="{D7EF04EB-0482-5775-6DD9-DFD8DBF5AD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3472" y="781945"/>
            <a:ext cx="2174677" cy="667912"/>
          </a:xfrm>
          <a:prstGeom prst="rect">
            <a:avLst/>
          </a:prstGeom>
        </p:spPr>
      </p:pic>
      <p:sp>
        <p:nvSpPr>
          <p:cNvPr id="12" name="Footer Placeholder 4">
            <a:extLst>
              <a:ext uri="{FF2B5EF4-FFF2-40B4-BE49-F238E27FC236}">
                <a16:creationId xmlns:a16="http://schemas.microsoft.com/office/drawing/2014/main" id="{A100E9CA-597C-8D3A-F40C-33281AC44A24}"/>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13" name="Slide Number Placeholder 5">
            <a:extLst>
              <a:ext uri="{FF2B5EF4-FFF2-40B4-BE49-F238E27FC236}">
                <a16:creationId xmlns:a16="http://schemas.microsoft.com/office/drawing/2014/main" id="{E4FF72CD-FCEB-896C-7975-222BFDF5C5BA}"/>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14" name="Straight Connector 13">
            <a:extLst>
              <a:ext uri="{FF2B5EF4-FFF2-40B4-BE49-F238E27FC236}">
                <a16:creationId xmlns:a16="http://schemas.microsoft.com/office/drawing/2014/main" id="{20306DDC-F26C-45D8-D01F-068BDCCCCEF4}"/>
              </a:ext>
            </a:extLst>
          </p:cNvPr>
          <p:cNvCxnSpPr/>
          <p:nvPr/>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647698" y="557638"/>
            <a:ext cx="6120000" cy="1440000"/>
          </a:xfrm>
        </p:spPr>
        <p:txBody>
          <a:bodyPr/>
          <a:lstStyle>
            <a:lvl1pPr marL="0" indent="0" algn="l">
              <a:buNone/>
              <a:defRPr sz="3100" b="0">
                <a:solidFill>
                  <a:schemeClr val="accent6"/>
                </a:solidFill>
              </a:defRPr>
            </a:lvl1pPr>
            <a:lvl2pPr marL="0" indent="0" algn="l">
              <a:buNone/>
              <a:defRPr sz="2300" b="0">
                <a:solidFill>
                  <a:schemeClr val="accent6"/>
                </a:solidFill>
              </a:defRPr>
            </a:lvl2pPr>
            <a:lvl3pPr marL="0" indent="0" algn="l">
              <a:buNone/>
              <a:defRPr sz="2300" b="0">
                <a:solidFill>
                  <a:schemeClr val="accent6"/>
                </a:solidFill>
              </a:defRPr>
            </a:lvl3pPr>
            <a:lvl4pPr marL="0" indent="0" algn="l">
              <a:buNone/>
              <a:defRPr sz="2300" b="0">
                <a:solidFill>
                  <a:schemeClr val="accent6"/>
                </a:solidFill>
              </a:defRPr>
            </a:lvl4pPr>
            <a:lvl5pPr marL="0" indent="0" algn="l">
              <a:buNone/>
              <a:defRPr sz="2300" b="0">
                <a:solidFill>
                  <a:schemeClr val="accent6"/>
                </a:solidFill>
              </a:defRPr>
            </a:lvl5pPr>
            <a:lvl6pPr marL="0" indent="0" algn="l">
              <a:buNone/>
              <a:defRPr sz="2300" b="0">
                <a:solidFill>
                  <a:schemeClr val="accent6"/>
                </a:solidFill>
              </a:defRPr>
            </a:lvl6pPr>
            <a:lvl7pPr marL="0" indent="0" algn="l">
              <a:buNone/>
              <a:defRPr sz="2300" b="0">
                <a:solidFill>
                  <a:schemeClr val="accent6"/>
                </a:solidFill>
              </a:defRPr>
            </a:lvl7pPr>
            <a:lvl8pPr marL="0" indent="0" algn="l">
              <a:buNone/>
              <a:defRPr sz="2300" b="0">
                <a:solidFill>
                  <a:schemeClr val="accent6"/>
                </a:solidFill>
              </a:defRPr>
            </a:lvl8pPr>
            <a:lvl9pPr marL="0" indent="0" algn="l">
              <a:buNone/>
              <a:defRPr sz="2300"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9" name="Text Placeholder 8">
            <a:extLst>
              <a:ext uri="{FF2B5EF4-FFF2-40B4-BE49-F238E27FC236}">
                <a16:creationId xmlns:a16="http://schemas.microsoft.com/office/drawing/2014/main" id="{232A6D60-C58B-FDBB-A870-ADB567835DCD}"/>
              </a:ext>
            </a:extLst>
          </p:cNvPr>
          <p:cNvSpPr>
            <a:spLocks noGrp="1"/>
          </p:cNvSpPr>
          <p:nvPr>
            <p:ph type="body" sz="quarter" idx="16"/>
          </p:nvPr>
        </p:nvSpPr>
        <p:spPr>
          <a:xfrm>
            <a:off x="6715315" y="3978401"/>
            <a:ext cx="2120265" cy="2244598"/>
          </a:xfrm>
          <a:custGeom>
            <a:avLst/>
            <a:gdLst>
              <a:gd name="connsiteX0" fmla="*/ 1065372 w 2120265"/>
              <a:gd name="connsiteY0" fmla="*/ 67 h 2244598"/>
              <a:gd name="connsiteX1" fmla="*/ 2120265 w 2120265"/>
              <a:gd name="connsiteY1" fmla="*/ 2244598 h 2244598"/>
              <a:gd name="connsiteX2" fmla="*/ 0 w 2120265"/>
              <a:gd name="connsiteY2" fmla="*/ 2244598 h 2244598"/>
              <a:gd name="connsiteX3" fmla="*/ 1065340 w 2120265"/>
              <a:gd name="connsiteY3" fmla="*/ 0 h 2244598"/>
              <a:gd name="connsiteX4" fmla="*/ 1065403 w 2120265"/>
              <a:gd name="connsiteY4" fmla="*/ 0 h 2244598"/>
              <a:gd name="connsiteX5" fmla="*/ 1065372 w 2120265"/>
              <a:gd name="connsiteY5" fmla="*/ 67 h 224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0265" h="2244598">
                <a:moveTo>
                  <a:pt x="1065372" y="67"/>
                </a:moveTo>
                <a:lnTo>
                  <a:pt x="2120265" y="2244598"/>
                </a:lnTo>
                <a:lnTo>
                  <a:pt x="0" y="2244598"/>
                </a:lnTo>
                <a:close/>
                <a:moveTo>
                  <a:pt x="1065340" y="0"/>
                </a:moveTo>
                <a:lnTo>
                  <a:pt x="1065403" y="0"/>
                </a:lnTo>
                <a:lnTo>
                  <a:pt x="1065372" y="67"/>
                </a:lnTo>
                <a:close/>
              </a:path>
            </a:pathLst>
          </a:custGeom>
          <a:solidFill>
            <a:schemeClr val="tx2">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3" name="Text Placeholder 22">
            <a:extLst>
              <a:ext uri="{FF2B5EF4-FFF2-40B4-BE49-F238E27FC236}">
                <a16:creationId xmlns:a16="http://schemas.microsoft.com/office/drawing/2014/main" id="{9A24A69E-7A35-6815-F90F-3383EAB3B666}"/>
              </a:ext>
            </a:extLst>
          </p:cNvPr>
          <p:cNvSpPr>
            <a:spLocks noGrp="1"/>
          </p:cNvSpPr>
          <p:nvPr>
            <p:ph type="body" sz="quarter" idx="19"/>
          </p:nvPr>
        </p:nvSpPr>
        <p:spPr>
          <a:xfrm>
            <a:off x="5300154" y="2222499"/>
            <a:ext cx="2480565" cy="1755902"/>
          </a:xfrm>
          <a:custGeom>
            <a:avLst/>
            <a:gdLst>
              <a:gd name="connsiteX0" fmla="*/ 0 w 2480565"/>
              <a:gd name="connsiteY0" fmla="*/ 0 h 1755902"/>
              <a:gd name="connsiteX1" fmla="*/ 1654556 w 2480565"/>
              <a:gd name="connsiteY1" fmla="*/ 0 h 1755902"/>
              <a:gd name="connsiteX2" fmla="*/ 2480565 w 2480565"/>
              <a:gd name="connsiteY2" fmla="*/ 1755902 h 1755902"/>
              <a:gd name="connsiteX3" fmla="*/ 826008 w 2480565"/>
              <a:gd name="connsiteY3" fmla="*/ 1755902 h 1755902"/>
              <a:gd name="connsiteX4" fmla="*/ 0 w 2480565"/>
              <a:gd name="connsiteY4" fmla="*/ 0 h 175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565" h="1755902">
                <a:moveTo>
                  <a:pt x="0" y="0"/>
                </a:moveTo>
                <a:lnTo>
                  <a:pt x="1654556" y="0"/>
                </a:lnTo>
                <a:lnTo>
                  <a:pt x="2480565" y="1755902"/>
                </a:lnTo>
                <a:lnTo>
                  <a:pt x="826008" y="1755902"/>
                </a:lnTo>
                <a:cubicBezTo>
                  <a:pt x="826008" y="1755902"/>
                  <a:pt x="0" y="0"/>
                  <a:pt x="0" y="0"/>
                </a:cubicBezTo>
                <a:close/>
              </a:path>
            </a:pathLst>
          </a:custGeom>
          <a:solidFill>
            <a:schemeClr val="bg1">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5" name="Text Placeholder 24">
            <a:extLst>
              <a:ext uri="{FF2B5EF4-FFF2-40B4-BE49-F238E27FC236}">
                <a16:creationId xmlns:a16="http://schemas.microsoft.com/office/drawing/2014/main" id="{312A4FA6-4FE8-2907-D974-53DDC6B1D86E}"/>
              </a:ext>
            </a:extLst>
          </p:cNvPr>
          <p:cNvSpPr>
            <a:spLocks noGrp="1"/>
          </p:cNvSpPr>
          <p:nvPr>
            <p:ph type="body" sz="quarter" idx="18"/>
          </p:nvPr>
        </p:nvSpPr>
        <p:spPr>
          <a:xfrm>
            <a:off x="6120362" y="2222500"/>
            <a:ext cx="1661668" cy="1755902"/>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2">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4" name="Free-form: Shape 33">
            <a:extLst>
              <a:ext uri="{FF2B5EF4-FFF2-40B4-BE49-F238E27FC236}">
                <a16:creationId xmlns:a16="http://schemas.microsoft.com/office/drawing/2014/main" id="{6F7603DC-7D1E-9C76-676F-6C57A90B1531}"/>
              </a:ext>
            </a:extLst>
          </p:cNvPr>
          <p:cNvSpPr/>
          <p:nvPr userDrawn="1"/>
        </p:nvSpPr>
        <p:spPr>
          <a:xfrm>
            <a:off x="6413944" y="6222999"/>
            <a:ext cx="2421727" cy="635001"/>
          </a:xfrm>
          <a:custGeom>
            <a:avLst/>
            <a:gdLst>
              <a:gd name="connsiteX0" fmla="*/ 301566 w 2421727"/>
              <a:gd name="connsiteY0" fmla="*/ 0 h 635001"/>
              <a:gd name="connsiteX1" fmla="*/ 2421727 w 2421727"/>
              <a:gd name="connsiteY1" fmla="*/ 0 h 635001"/>
              <a:gd name="connsiteX2" fmla="*/ 2120456 w 2421727"/>
              <a:gd name="connsiteY2" fmla="*/ 635001 h 635001"/>
              <a:gd name="connsiteX3" fmla="*/ 0 w 2421727"/>
              <a:gd name="connsiteY3" fmla="*/ 635001 h 635001"/>
              <a:gd name="connsiteX4" fmla="*/ 299275 w 2421727"/>
              <a:gd name="connsiteY4" fmla="*/ 4827 h 635001"/>
              <a:gd name="connsiteX5" fmla="*/ 301566 w 2421727"/>
              <a:gd name="connsiteY5" fmla="*/ 0 h 63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1727" h="635001">
                <a:moveTo>
                  <a:pt x="301566" y="0"/>
                </a:moveTo>
                <a:lnTo>
                  <a:pt x="2421727" y="0"/>
                </a:lnTo>
                <a:lnTo>
                  <a:pt x="2120456" y="635001"/>
                </a:lnTo>
                <a:lnTo>
                  <a:pt x="0" y="635001"/>
                </a:lnTo>
                <a:lnTo>
                  <a:pt x="299275" y="4827"/>
                </a:lnTo>
                <a:lnTo>
                  <a:pt x="301566"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67" name="Free-form: Shape 66">
            <a:extLst>
              <a:ext uri="{FF2B5EF4-FFF2-40B4-BE49-F238E27FC236}">
                <a16:creationId xmlns:a16="http://schemas.microsoft.com/office/drawing/2014/main" id="{A7AAF511-AA33-6074-9340-7CE5CBB04A33}"/>
              </a:ext>
            </a:extLst>
          </p:cNvPr>
          <p:cNvSpPr/>
          <p:nvPr userDrawn="1"/>
        </p:nvSpPr>
        <p:spPr>
          <a:xfrm>
            <a:off x="6954710" y="2222499"/>
            <a:ext cx="1661668" cy="1755902"/>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2">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
        <p:nvSpPr>
          <p:cNvPr id="69" name="Free-form: Shape 68">
            <a:extLst>
              <a:ext uri="{FF2B5EF4-FFF2-40B4-BE49-F238E27FC236}">
                <a16:creationId xmlns:a16="http://schemas.microsoft.com/office/drawing/2014/main" id="{D6FD4977-830E-B16D-A05C-6D3A5FEBC516}"/>
              </a:ext>
            </a:extLst>
          </p:cNvPr>
          <p:cNvSpPr/>
          <p:nvPr userDrawn="1"/>
        </p:nvSpPr>
        <p:spPr>
          <a:xfrm>
            <a:off x="7780718" y="3978402"/>
            <a:ext cx="2119820" cy="2244597"/>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00" b="1">
              <a:noFill/>
            </a:endParaRPr>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3C709AB-4378-5A5C-77FC-AFC13E4152E7}"/>
              </a:ext>
            </a:extLst>
          </p:cNvPr>
          <p:cNvSpPr/>
          <p:nvPr userDrawn="1"/>
        </p:nvSpPr>
        <p:spPr>
          <a:xfrm>
            <a:off x="6954721" y="0"/>
            <a:ext cx="2719440" cy="3978401"/>
          </a:xfrm>
          <a:custGeom>
            <a:avLst/>
            <a:gdLst>
              <a:gd name="connsiteX0" fmla="*/ 1048755 w 2719440"/>
              <a:gd name="connsiteY0" fmla="*/ 0 h 3978401"/>
              <a:gd name="connsiteX1" fmla="*/ 2719440 w 2719440"/>
              <a:gd name="connsiteY1" fmla="*/ 0 h 3978401"/>
              <a:gd name="connsiteX2" fmla="*/ 825998 w 2719440"/>
              <a:gd name="connsiteY2" fmla="*/ 3978401 h 3978401"/>
              <a:gd name="connsiteX3" fmla="*/ 0 w 2719440"/>
              <a:gd name="connsiteY3" fmla="*/ 2222522 h 3978401"/>
              <a:gd name="connsiteX4" fmla="*/ 1048755 w 2719440"/>
              <a:gd name="connsiteY4" fmla="*/ 0 h 397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9440" h="3978401">
                <a:moveTo>
                  <a:pt x="1048755" y="0"/>
                </a:moveTo>
                <a:lnTo>
                  <a:pt x="2719440" y="0"/>
                </a:lnTo>
                <a:lnTo>
                  <a:pt x="825998" y="3978401"/>
                </a:lnTo>
                <a:lnTo>
                  <a:pt x="0" y="2222522"/>
                </a:lnTo>
                <a:lnTo>
                  <a:pt x="1048755" y="0"/>
                </a:lnTo>
                <a:close/>
              </a:path>
            </a:pathLst>
          </a:custGeom>
          <a:solidFill>
            <a:schemeClr val="accent1"/>
          </a:solidFill>
          <a:ln w="6350" cap="flat">
            <a:noFill/>
            <a:prstDash val="solid"/>
            <a:miter/>
          </a:ln>
        </p:spPr>
        <p:txBody>
          <a:bodyPr rtlCol="0" anchor="ctr"/>
          <a:lstStyle/>
          <a:p>
            <a:endParaRPr lang="en-AU"/>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2" y="2222499"/>
            <a:ext cx="12192001" cy="4000500"/>
          </a:xfrm>
          <a:prstGeom prst="rect">
            <a:avLst/>
          </a:prstGeom>
          <a:solidFill>
            <a:schemeClr val="bg1">
              <a:lumMod val="75000"/>
            </a:schemeClr>
          </a:solidFill>
        </p:spPr>
        <p:txBody>
          <a:bodyPr wrap="square" lIns="648000" tIns="288000" rIns="7920000" bIns="360000" anchor="t" anchorCtr="0">
            <a:noAutofit/>
          </a:bodyPr>
          <a:lstStyle>
            <a:lvl1pPr algn="l">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44" name="Text Placeholder 43">
            <a:extLst>
              <a:ext uri="{FF2B5EF4-FFF2-40B4-BE49-F238E27FC236}">
                <a16:creationId xmlns:a16="http://schemas.microsoft.com/office/drawing/2014/main" id="{BEDA4826-2F46-1CDA-C124-CB146B6394B6}"/>
              </a:ext>
            </a:extLst>
          </p:cNvPr>
          <p:cNvSpPr>
            <a:spLocks noGrp="1"/>
          </p:cNvSpPr>
          <p:nvPr>
            <p:ph type="body" sz="quarter" idx="21"/>
          </p:nvPr>
        </p:nvSpPr>
        <p:spPr>
          <a:xfrm>
            <a:off x="7780717" y="3978402"/>
            <a:ext cx="3174682" cy="2244598"/>
          </a:xfrm>
          <a:custGeom>
            <a:avLst/>
            <a:gdLst>
              <a:gd name="connsiteX0" fmla="*/ 0 w 3174682"/>
              <a:gd name="connsiteY0" fmla="*/ 0 h 2244598"/>
              <a:gd name="connsiteX1" fmla="*/ 2119757 w 3174682"/>
              <a:gd name="connsiteY1" fmla="*/ 0 h 2244598"/>
              <a:gd name="connsiteX2" fmla="*/ 3174682 w 3174682"/>
              <a:gd name="connsiteY2" fmla="*/ 2244598 h 2244598"/>
              <a:gd name="connsiteX3" fmla="*/ 1054925 w 3174682"/>
              <a:gd name="connsiteY3" fmla="*/ 2244598 h 2244598"/>
            </a:gdLst>
            <a:ahLst/>
            <a:cxnLst>
              <a:cxn ang="0">
                <a:pos x="connsiteX0" y="connsiteY0"/>
              </a:cxn>
              <a:cxn ang="0">
                <a:pos x="connsiteX1" y="connsiteY1"/>
              </a:cxn>
              <a:cxn ang="0">
                <a:pos x="connsiteX2" y="connsiteY2"/>
              </a:cxn>
              <a:cxn ang="0">
                <a:pos x="connsiteX3" y="connsiteY3"/>
              </a:cxn>
            </a:cxnLst>
            <a:rect l="l" t="t" r="r" b="b"/>
            <a:pathLst>
              <a:path w="3174682" h="2244598">
                <a:moveTo>
                  <a:pt x="0" y="0"/>
                </a:moveTo>
                <a:lnTo>
                  <a:pt x="2119757" y="0"/>
                </a:lnTo>
                <a:cubicBezTo>
                  <a:pt x="2119757" y="0"/>
                  <a:pt x="3174682" y="2244598"/>
                  <a:pt x="3174682" y="2244598"/>
                </a:cubicBezTo>
                <a:lnTo>
                  <a:pt x="1054925" y="2244598"/>
                </a:lnTo>
                <a:close/>
              </a:path>
            </a:pathLst>
          </a:custGeom>
          <a:solidFill>
            <a:schemeClr val="bg1">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5" name="Graphic 4">
            <a:extLst>
              <a:ext uri="{FF2B5EF4-FFF2-40B4-BE49-F238E27FC236}">
                <a16:creationId xmlns:a16="http://schemas.microsoft.com/office/drawing/2014/main" id="{D7EF04EB-0482-5775-6DD9-DFD8DBF5ADE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3472" y="781945"/>
            <a:ext cx="2174677" cy="667912"/>
          </a:xfrm>
          <a:prstGeom prst="rect">
            <a:avLst/>
          </a:prstGeom>
        </p:spPr>
      </p:pic>
      <p:sp>
        <p:nvSpPr>
          <p:cNvPr id="12" name="Footer Placeholder 4">
            <a:extLst>
              <a:ext uri="{FF2B5EF4-FFF2-40B4-BE49-F238E27FC236}">
                <a16:creationId xmlns:a16="http://schemas.microsoft.com/office/drawing/2014/main" id="{A100E9CA-597C-8D3A-F40C-33281AC44A24}"/>
              </a:ext>
            </a:extLst>
          </p:cNvPr>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13" name="Slide Number Placeholder 5">
            <a:extLst>
              <a:ext uri="{FF2B5EF4-FFF2-40B4-BE49-F238E27FC236}">
                <a16:creationId xmlns:a16="http://schemas.microsoft.com/office/drawing/2014/main" id="{E4FF72CD-FCEB-896C-7975-222BFDF5C5BA}"/>
              </a:ext>
            </a:extLst>
          </p:cNvPr>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dirty="0"/>
              <a:t>Page </a:t>
            </a:r>
            <a:fld id="{F5AEA0E0-5CC6-4BD0-905C-A0021E419432}" type="slidenum">
              <a:rPr lang="en-GB" smtClean="0"/>
              <a:pPr/>
              <a:t>‹#›</a:t>
            </a:fld>
            <a:endParaRPr lang="en-GB" dirty="0"/>
          </a:p>
        </p:txBody>
      </p:sp>
      <p:cxnSp>
        <p:nvCxnSpPr>
          <p:cNvPr id="14" name="Straight Connector 13">
            <a:extLst>
              <a:ext uri="{FF2B5EF4-FFF2-40B4-BE49-F238E27FC236}">
                <a16:creationId xmlns:a16="http://schemas.microsoft.com/office/drawing/2014/main" id="{20306DDC-F26C-45D8-D01F-068BDCCCCEF4}"/>
              </a:ext>
            </a:extLst>
          </p:cNvPr>
          <p:cNvCxnSpPr/>
          <p:nvPr/>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647698" y="557638"/>
            <a:ext cx="6120000" cy="1440000"/>
          </a:xfrm>
        </p:spPr>
        <p:txBody>
          <a:bodyPr/>
          <a:lstStyle>
            <a:lvl1pPr marL="0" indent="0" algn="l">
              <a:buNone/>
              <a:defRPr sz="3100" b="0">
                <a:solidFill>
                  <a:schemeClr val="accent6"/>
                </a:solidFill>
              </a:defRPr>
            </a:lvl1pPr>
            <a:lvl2pPr marL="0" indent="0" algn="l">
              <a:buNone/>
              <a:defRPr sz="2300" b="0">
                <a:solidFill>
                  <a:schemeClr val="accent6"/>
                </a:solidFill>
              </a:defRPr>
            </a:lvl2pPr>
            <a:lvl3pPr marL="0" indent="0" algn="l">
              <a:buNone/>
              <a:defRPr sz="2300" b="0">
                <a:solidFill>
                  <a:schemeClr val="accent6"/>
                </a:solidFill>
              </a:defRPr>
            </a:lvl3pPr>
            <a:lvl4pPr marL="0" indent="0" algn="l">
              <a:buNone/>
              <a:defRPr sz="2300" b="0">
                <a:solidFill>
                  <a:schemeClr val="accent6"/>
                </a:solidFill>
              </a:defRPr>
            </a:lvl4pPr>
            <a:lvl5pPr marL="0" indent="0" algn="l">
              <a:buNone/>
              <a:defRPr sz="2300" b="0">
                <a:solidFill>
                  <a:schemeClr val="accent6"/>
                </a:solidFill>
              </a:defRPr>
            </a:lvl5pPr>
            <a:lvl6pPr marL="0" indent="0" algn="l">
              <a:buNone/>
              <a:defRPr sz="2300" b="0">
                <a:solidFill>
                  <a:schemeClr val="accent6"/>
                </a:solidFill>
              </a:defRPr>
            </a:lvl6pPr>
            <a:lvl7pPr marL="0" indent="0" algn="l">
              <a:buNone/>
              <a:defRPr sz="2300" b="0">
                <a:solidFill>
                  <a:schemeClr val="accent6"/>
                </a:solidFill>
              </a:defRPr>
            </a:lvl7pPr>
            <a:lvl8pPr marL="0" indent="0" algn="l">
              <a:buNone/>
              <a:defRPr sz="2300" b="0">
                <a:solidFill>
                  <a:schemeClr val="accent6"/>
                </a:solidFill>
              </a:defRPr>
            </a:lvl8pPr>
            <a:lvl9pPr marL="0" indent="0" algn="l">
              <a:buNone/>
              <a:defRPr sz="2300"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9" name="Text Placeholder 8">
            <a:extLst>
              <a:ext uri="{FF2B5EF4-FFF2-40B4-BE49-F238E27FC236}">
                <a16:creationId xmlns:a16="http://schemas.microsoft.com/office/drawing/2014/main" id="{232A6D60-C58B-FDBB-A870-ADB567835DCD}"/>
              </a:ext>
            </a:extLst>
          </p:cNvPr>
          <p:cNvSpPr>
            <a:spLocks noGrp="1"/>
          </p:cNvSpPr>
          <p:nvPr>
            <p:ph type="body" sz="quarter" idx="16"/>
          </p:nvPr>
        </p:nvSpPr>
        <p:spPr>
          <a:xfrm>
            <a:off x="6715315" y="3978401"/>
            <a:ext cx="2120265" cy="2244598"/>
          </a:xfrm>
          <a:custGeom>
            <a:avLst/>
            <a:gdLst>
              <a:gd name="connsiteX0" fmla="*/ 1065372 w 2120265"/>
              <a:gd name="connsiteY0" fmla="*/ 67 h 2244598"/>
              <a:gd name="connsiteX1" fmla="*/ 2120265 w 2120265"/>
              <a:gd name="connsiteY1" fmla="*/ 2244598 h 2244598"/>
              <a:gd name="connsiteX2" fmla="*/ 0 w 2120265"/>
              <a:gd name="connsiteY2" fmla="*/ 2244598 h 2244598"/>
              <a:gd name="connsiteX3" fmla="*/ 1065340 w 2120265"/>
              <a:gd name="connsiteY3" fmla="*/ 0 h 2244598"/>
              <a:gd name="connsiteX4" fmla="*/ 1065403 w 2120265"/>
              <a:gd name="connsiteY4" fmla="*/ 0 h 2244598"/>
              <a:gd name="connsiteX5" fmla="*/ 1065372 w 2120265"/>
              <a:gd name="connsiteY5" fmla="*/ 67 h 224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20265" h="2244598">
                <a:moveTo>
                  <a:pt x="1065372" y="67"/>
                </a:moveTo>
                <a:lnTo>
                  <a:pt x="2120265" y="2244598"/>
                </a:lnTo>
                <a:lnTo>
                  <a:pt x="0" y="2244598"/>
                </a:lnTo>
                <a:close/>
                <a:moveTo>
                  <a:pt x="1065340" y="0"/>
                </a:moveTo>
                <a:lnTo>
                  <a:pt x="1065403" y="0"/>
                </a:lnTo>
                <a:lnTo>
                  <a:pt x="1065372" y="67"/>
                </a:lnTo>
                <a:close/>
              </a:path>
            </a:pathLst>
          </a:custGeom>
          <a:solidFill>
            <a:schemeClr val="tx2">
              <a:alpha val="66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3" name="Text Placeholder 22">
            <a:extLst>
              <a:ext uri="{FF2B5EF4-FFF2-40B4-BE49-F238E27FC236}">
                <a16:creationId xmlns:a16="http://schemas.microsoft.com/office/drawing/2014/main" id="{9A24A69E-7A35-6815-F90F-3383EAB3B666}"/>
              </a:ext>
            </a:extLst>
          </p:cNvPr>
          <p:cNvSpPr>
            <a:spLocks noGrp="1"/>
          </p:cNvSpPr>
          <p:nvPr>
            <p:ph type="body" sz="quarter" idx="19"/>
          </p:nvPr>
        </p:nvSpPr>
        <p:spPr>
          <a:xfrm>
            <a:off x="5300154" y="2222499"/>
            <a:ext cx="2480565" cy="1755902"/>
          </a:xfrm>
          <a:custGeom>
            <a:avLst/>
            <a:gdLst>
              <a:gd name="connsiteX0" fmla="*/ 0 w 2480565"/>
              <a:gd name="connsiteY0" fmla="*/ 0 h 1755902"/>
              <a:gd name="connsiteX1" fmla="*/ 1654556 w 2480565"/>
              <a:gd name="connsiteY1" fmla="*/ 0 h 1755902"/>
              <a:gd name="connsiteX2" fmla="*/ 2480565 w 2480565"/>
              <a:gd name="connsiteY2" fmla="*/ 1755902 h 1755902"/>
              <a:gd name="connsiteX3" fmla="*/ 826008 w 2480565"/>
              <a:gd name="connsiteY3" fmla="*/ 1755902 h 1755902"/>
              <a:gd name="connsiteX4" fmla="*/ 0 w 2480565"/>
              <a:gd name="connsiteY4" fmla="*/ 0 h 1755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565" h="1755902">
                <a:moveTo>
                  <a:pt x="0" y="0"/>
                </a:moveTo>
                <a:lnTo>
                  <a:pt x="1654556" y="0"/>
                </a:lnTo>
                <a:lnTo>
                  <a:pt x="2480565" y="1755902"/>
                </a:lnTo>
                <a:lnTo>
                  <a:pt x="826008" y="1755902"/>
                </a:lnTo>
                <a:cubicBezTo>
                  <a:pt x="826008" y="1755902"/>
                  <a:pt x="0" y="0"/>
                  <a:pt x="0" y="0"/>
                </a:cubicBezTo>
                <a:close/>
              </a:path>
            </a:pathLst>
          </a:custGeom>
          <a:solidFill>
            <a:schemeClr val="bg1">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5" name="Text Placeholder 24">
            <a:extLst>
              <a:ext uri="{FF2B5EF4-FFF2-40B4-BE49-F238E27FC236}">
                <a16:creationId xmlns:a16="http://schemas.microsoft.com/office/drawing/2014/main" id="{312A4FA6-4FE8-2907-D974-53DDC6B1D86E}"/>
              </a:ext>
            </a:extLst>
          </p:cNvPr>
          <p:cNvSpPr>
            <a:spLocks noGrp="1"/>
          </p:cNvSpPr>
          <p:nvPr>
            <p:ph type="body" sz="quarter" idx="18"/>
          </p:nvPr>
        </p:nvSpPr>
        <p:spPr>
          <a:xfrm>
            <a:off x="6120362" y="2222500"/>
            <a:ext cx="1661668" cy="1755902"/>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4" name="Free-form: Shape 33">
            <a:extLst>
              <a:ext uri="{FF2B5EF4-FFF2-40B4-BE49-F238E27FC236}">
                <a16:creationId xmlns:a16="http://schemas.microsoft.com/office/drawing/2014/main" id="{6F7603DC-7D1E-9C76-676F-6C57A90B1531}"/>
              </a:ext>
            </a:extLst>
          </p:cNvPr>
          <p:cNvSpPr/>
          <p:nvPr userDrawn="1"/>
        </p:nvSpPr>
        <p:spPr>
          <a:xfrm>
            <a:off x="6413944" y="6222999"/>
            <a:ext cx="2421727" cy="635001"/>
          </a:xfrm>
          <a:custGeom>
            <a:avLst/>
            <a:gdLst>
              <a:gd name="connsiteX0" fmla="*/ 301566 w 2421727"/>
              <a:gd name="connsiteY0" fmla="*/ 0 h 635001"/>
              <a:gd name="connsiteX1" fmla="*/ 2421727 w 2421727"/>
              <a:gd name="connsiteY1" fmla="*/ 0 h 635001"/>
              <a:gd name="connsiteX2" fmla="*/ 2120456 w 2421727"/>
              <a:gd name="connsiteY2" fmla="*/ 635001 h 635001"/>
              <a:gd name="connsiteX3" fmla="*/ 0 w 2421727"/>
              <a:gd name="connsiteY3" fmla="*/ 635001 h 635001"/>
              <a:gd name="connsiteX4" fmla="*/ 299275 w 2421727"/>
              <a:gd name="connsiteY4" fmla="*/ 4827 h 635001"/>
              <a:gd name="connsiteX5" fmla="*/ 301566 w 2421727"/>
              <a:gd name="connsiteY5" fmla="*/ 0 h 63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1727" h="635001">
                <a:moveTo>
                  <a:pt x="301566" y="0"/>
                </a:moveTo>
                <a:lnTo>
                  <a:pt x="2421727" y="0"/>
                </a:lnTo>
                <a:lnTo>
                  <a:pt x="2120456" y="635001"/>
                </a:lnTo>
                <a:lnTo>
                  <a:pt x="0" y="635001"/>
                </a:lnTo>
                <a:lnTo>
                  <a:pt x="299275" y="4827"/>
                </a:lnTo>
                <a:lnTo>
                  <a:pt x="301566"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3" name="Text Placeholder 2">
            <a:extLst>
              <a:ext uri="{FF2B5EF4-FFF2-40B4-BE49-F238E27FC236}">
                <a16:creationId xmlns:a16="http://schemas.microsoft.com/office/drawing/2014/main" id="{28ECF82F-2E67-1EA2-A280-0E21542BDD5B}"/>
              </a:ext>
            </a:extLst>
          </p:cNvPr>
          <p:cNvSpPr>
            <a:spLocks noGrp="1"/>
          </p:cNvSpPr>
          <p:nvPr>
            <p:ph type="body" sz="quarter" idx="22"/>
          </p:nvPr>
        </p:nvSpPr>
        <p:spPr>
          <a:xfrm>
            <a:off x="7780718" y="3978402"/>
            <a:ext cx="2119820" cy="2244597"/>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Text Placeholder 5">
            <a:extLst>
              <a:ext uri="{FF2B5EF4-FFF2-40B4-BE49-F238E27FC236}">
                <a16:creationId xmlns:a16="http://schemas.microsoft.com/office/drawing/2014/main" id="{EF84826E-54F3-DE9F-B5D0-BF8F8A18E05C}"/>
              </a:ext>
            </a:extLst>
          </p:cNvPr>
          <p:cNvSpPr>
            <a:spLocks noGrp="1"/>
          </p:cNvSpPr>
          <p:nvPr>
            <p:ph type="body" sz="quarter" idx="23"/>
          </p:nvPr>
        </p:nvSpPr>
        <p:spPr>
          <a:xfrm>
            <a:off x="6954709" y="2222498"/>
            <a:ext cx="1661668" cy="1755902"/>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647699" y="1825625"/>
            <a:ext cx="9360000" cy="3960000"/>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lvl1pPr>
              <a:defRPr>
                <a:solidFill>
                  <a:schemeClr val="accent6"/>
                </a:solidFill>
              </a:defRPr>
            </a:lvl1pPr>
          </a:lstStyle>
          <a:p>
            <a:fld id="{6DB7E033-7760-4F53-AB39-23E75C1E8B96}" type="datetime1">
              <a:rPr lang="en-GB" smtClean="0"/>
              <a:pPr/>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647699" y="1825625"/>
            <a:ext cx="4320000" cy="3960000"/>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687699" y="1825625"/>
            <a:ext cx="4320000" cy="3960000"/>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lvl1pPr>
              <a:defRPr>
                <a:solidFill>
                  <a:schemeClr val="accent6"/>
                </a:solidFill>
              </a:defRPr>
            </a:lvl1pPr>
          </a:lstStyle>
          <a:p>
            <a:fld id="{93472334-F3BF-4941-B066-A9089F7890EF}" type="datetime1">
              <a:rPr lang="en-GB" smtClean="0"/>
              <a:pPr/>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647699" y="2365624"/>
            <a:ext cx="9360000" cy="3420000"/>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647699" y="1637825"/>
            <a:ext cx="9360000" cy="540000"/>
          </a:xfrm>
        </p:spPr>
        <p:txBody>
          <a:bodyPr/>
          <a:lstStyle>
            <a:lvl1pPr>
              <a:defRPr>
                <a:solidFill>
                  <a:schemeClr val="accent6"/>
                </a:solidFill>
              </a:defRPr>
            </a:lvl1pPr>
          </a:lstStyle>
          <a:p>
            <a:pPr lvl="0"/>
            <a:r>
              <a:rPr lang="en-GB" dirty="0"/>
              <a:t>Click to add text</a:t>
            </a:r>
            <a:endParaRPr lang="en-AU" dirty="0"/>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BA0FDF6-EB8C-F8DF-FAD4-1536272DA829}"/>
              </a:ext>
            </a:extLst>
          </p:cNvPr>
          <p:cNvSpPr>
            <a:spLocks noGrp="1" noChangeAspect="1"/>
          </p:cNvSpPr>
          <p:nvPr>
            <p:ph type="pic" sz="quarter" idx="14" hasCustomPrompt="1"/>
          </p:nvPr>
        </p:nvSpPr>
        <p:spPr>
          <a:xfrm>
            <a:off x="8045360" y="1269666"/>
            <a:ext cx="4146638" cy="4946583"/>
          </a:xfrm>
          <a:custGeom>
            <a:avLst/>
            <a:gdLst>
              <a:gd name="connsiteX0" fmla="*/ 2345016 w 4146638"/>
              <a:gd name="connsiteY0" fmla="*/ 0 h 4946583"/>
              <a:gd name="connsiteX1" fmla="*/ 4146638 w 4146638"/>
              <a:gd name="connsiteY1" fmla="*/ 0 h 4946583"/>
              <a:gd name="connsiteX2" fmla="*/ 4146638 w 4146638"/>
              <a:gd name="connsiteY2" fmla="*/ 4946583 h 4946583"/>
              <a:gd name="connsiteX3" fmla="*/ 0 w 4146638"/>
              <a:gd name="connsiteY3" fmla="*/ 4946583 h 4946583"/>
            </a:gdLst>
            <a:ahLst/>
            <a:cxnLst>
              <a:cxn ang="0">
                <a:pos x="connsiteX0" y="connsiteY0"/>
              </a:cxn>
              <a:cxn ang="0">
                <a:pos x="connsiteX1" y="connsiteY1"/>
              </a:cxn>
              <a:cxn ang="0">
                <a:pos x="connsiteX2" y="connsiteY2"/>
              </a:cxn>
              <a:cxn ang="0">
                <a:pos x="connsiteX3" y="connsiteY3"/>
              </a:cxn>
            </a:cxnLst>
            <a:rect l="l" t="t" r="r" b="b"/>
            <a:pathLst>
              <a:path w="4146638" h="4946583">
                <a:moveTo>
                  <a:pt x="2345016" y="0"/>
                </a:moveTo>
                <a:lnTo>
                  <a:pt x="4146638" y="0"/>
                </a:lnTo>
                <a:lnTo>
                  <a:pt x="4146638" y="4946583"/>
                </a:lnTo>
                <a:lnTo>
                  <a:pt x="0" y="4946583"/>
                </a:lnTo>
                <a:close/>
              </a:path>
            </a:pathLst>
          </a:custGeom>
          <a:solidFill>
            <a:schemeClr val="bg1">
              <a:lumMod val="75000"/>
            </a:schemeClr>
          </a:solidFill>
        </p:spPr>
        <p:txBody>
          <a:bodyPr wrap="square" lIns="2520000" tIns="288000" rIns="360000" bIns="360000" anchor="t" anchorCtr="0">
            <a:noAutofit/>
          </a:bodyPr>
          <a:lstStyle>
            <a:lvl1pPr algn="r">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647697" y="1825625"/>
            <a:ext cx="7920000" cy="3960000"/>
          </a:xfr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647697" y="384467"/>
            <a:ext cx="7920000" cy="720000"/>
          </a:xfrm>
        </p:spPr>
        <p:txBody>
          <a:bodyPr/>
          <a:lstStyle/>
          <a:p>
            <a:r>
              <a:rPr lang="en-US"/>
              <a:t>Click to edit Master title style</a:t>
            </a:r>
            <a:endParaRPr lang="en-AU" dirty="0"/>
          </a:p>
        </p:txBody>
      </p:sp>
      <p:sp>
        <p:nvSpPr>
          <p:cNvPr id="38" name="Text Placeholder 37">
            <a:extLst>
              <a:ext uri="{FF2B5EF4-FFF2-40B4-BE49-F238E27FC236}">
                <a16:creationId xmlns:a16="http://schemas.microsoft.com/office/drawing/2014/main" id="{F4648418-1DD8-325A-1A1D-1994D242E95F}"/>
              </a:ext>
            </a:extLst>
          </p:cNvPr>
          <p:cNvSpPr>
            <a:spLocks noGrp="1"/>
          </p:cNvSpPr>
          <p:nvPr>
            <p:ph type="body" sz="quarter" idx="16"/>
          </p:nvPr>
        </p:nvSpPr>
        <p:spPr>
          <a:xfrm>
            <a:off x="11048704" y="3802188"/>
            <a:ext cx="1143295" cy="2414059"/>
          </a:xfrm>
          <a:custGeom>
            <a:avLst/>
            <a:gdLst>
              <a:gd name="connsiteX0" fmla="*/ 1143295 w 1143295"/>
              <a:gd name="connsiteY0" fmla="*/ 0 h 2414059"/>
              <a:gd name="connsiteX1" fmla="*/ 1143295 w 1143295"/>
              <a:gd name="connsiteY1" fmla="*/ 2414059 h 2414059"/>
              <a:gd name="connsiteX2" fmla="*/ 0 w 1143295"/>
              <a:gd name="connsiteY2" fmla="*/ 2414059 h 2414059"/>
            </a:gdLst>
            <a:ahLst/>
            <a:cxnLst>
              <a:cxn ang="0">
                <a:pos x="connsiteX0" y="connsiteY0"/>
              </a:cxn>
              <a:cxn ang="0">
                <a:pos x="connsiteX1" y="connsiteY1"/>
              </a:cxn>
              <a:cxn ang="0">
                <a:pos x="connsiteX2" y="connsiteY2"/>
              </a:cxn>
            </a:cxnLst>
            <a:rect l="l" t="t" r="r" b="b"/>
            <a:pathLst>
              <a:path w="1143295" h="2414059">
                <a:moveTo>
                  <a:pt x="1143295" y="0"/>
                </a:moveTo>
                <a:cubicBezTo>
                  <a:pt x="1143295" y="0"/>
                  <a:pt x="1143295" y="2414059"/>
                  <a:pt x="1143295" y="2414059"/>
                </a:cubicBezTo>
                <a:lnTo>
                  <a:pt x="0" y="2414059"/>
                </a:lnTo>
                <a:close/>
              </a:path>
            </a:pathLst>
          </a:custGeom>
          <a:solidFill>
            <a:schemeClr val="tx2">
              <a:alpha val="65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1269666"/>
            <a:ext cx="12192000" cy="4946583"/>
          </a:xfrm>
          <a:prstGeom prst="rect">
            <a:avLst/>
          </a:prstGeom>
          <a:solidFill>
            <a:schemeClr val="bg1">
              <a:lumMod val="75000"/>
            </a:schemeClr>
          </a:solidFill>
        </p:spPr>
        <p:txBody>
          <a:bodyPr wrap="square" lIns="648000" tIns="288000" rIns="8280000" bIns="360000" anchor="t" anchorCtr="0">
            <a:noAutofit/>
          </a:bodyPr>
          <a:lstStyle>
            <a:lvl1pPr algn="l">
              <a:defRPr sz="140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647699" y="384467"/>
            <a:ext cx="5040000" cy="720000"/>
          </a:xfrm>
        </p:spPr>
        <p:txBody>
          <a:bodyPr/>
          <a:lstStyle/>
          <a:p>
            <a:r>
              <a:rPr lang="en-US"/>
              <a:t>Click to edit Master title style</a:t>
            </a:r>
            <a:endParaRPr lang="en-AU" dirty="0"/>
          </a:p>
        </p:txBody>
      </p:sp>
      <p:sp>
        <p:nvSpPr>
          <p:cNvPr id="28" name="Text Placeholder 27">
            <a:extLst>
              <a:ext uri="{FF2B5EF4-FFF2-40B4-BE49-F238E27FC236}">
                <a16:creationId xmlns:a16="http://schemas.microsoft.com/office/drawing/2014/main" id="{A56673F6-2B8A-1C4D-237B-DC7001C5DEAE}"/>
              </a:ext>
            </a:extLst>
          </p:cNvPr>
          <p:cNvSpPr>
            <a:spLocks noGrp="1"/>
          </p:cNvSpPr>
          <p:nvPr>
            <p:ph type="body" sz="quarter" idx="16"/>
          </p:nvPr>
        </p:nvSpPr>
        <p:spPr>
          <a:xfrm>
            <a:off x="8045361" y="1269666"/>
            <a:ext cx="4146638" cy="4946583"/>
          </a:xfrm>
          <a:custGeom>
            <a:avLst/>
            <a:gdLst>
              <a:gd name="connsiteX0" fmla="*/ 2345016 w 4146638"/>
              <a:gd name="connsiteY0" fmla="*/ 0 h 4946583"/>
              <a:gd name="connsiteX1" fmla="*/ 4146638 w 4146638"/>
              <a:gd name="connsiteY1" fmla="*/ 0 h 4946583"/>
              <a:gd name="connsiteX2" fmla="*/ 4146638 w 4146638"/>
              <a:gd name="connsiteY2" fmla="*/ 4946583 h 4946583"/>
              <a:gd name="connsiteX3" fmla="*/ 0 w 4146638"/>
              <a:gd name="connsiteY3" fmla="*/ 4946583 h 4946583"/>
            </a:gdLst>
            <a:ahLst/>
            <a:cxnLst>
              <a:cxn ang="0">
                <a:pos x="connsiteX0" y="connsiteY0"/>
              </a:cxn>
              <a:cxn ang="0">
                <a:pos x="connsiteX1" y="connsiteY1"/>
              </a:cxn>
              <a:cxn ang="0">
                <a:pos x="connsiteX2" y="connsiteY2"/>
              </a:cxn>
              <a:cxn ang="0">
                <a:pos x="connsiteX3" y="connsiteY3"/>
              </a:cxn>
            </a:cxnLst>
            <a:rect l="l" t="t" r="r" b="b"/>
            <a:pathLst>
              <a:path w="4146638" h="4946583">
                <a:moveTo>
                  <a:pt x="2345016" y="0"/>
                </a:moveTo>
                <a:lnTo>
                  <a:pt x="4146638" y="0"/>
                </a:lnTo>
                <a:lnTo>
                  <a:pt x="4146638" y="4946583"/>
                </a:lnTo>
                <a:lnTo>
                  <a:pt x="0" y="4946583"/>
                </a:lnTo>
                <a:close/>
              </a:path>
            </a:pathLst>
          </a:custGeom>
          <a:solidFill>
            <a:schemeClr val="tx2">
              <a:alpha val="65000"/>
            </a:schemeClr>
          </a:solidFill>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p>
            <a:fld id="{3C048CFF-D5A4-4BED-AD1A-14E8D2CBA798}" type="datetime1">
              <a:rPr lang="en-GB" smtClean="0"/>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7251AB-567E-8AF7-4B23-481DD954486E}"/>
              </a:ext>
            </a:extLst>
          </p:cNvPr>
          <p:cNvGraphicFramePr>
            <a:graphicFrameLocks noChangeAspect="1"/>
          </p:cNvGraphicFramePr>
          <p:nvPr userDrawn="1">
            <p:custDataLst>
              <p:tags r:id="rId18"/>
            </p:custDataLst>
            <p:extLst>
              <p:ext uri="{D42A27DB-BD31-4B8C-83A1-F6EECF244321}">
                <p14:modId xmlns:p14="http://schemas.microsoft.com/office/powerpoint/2010/main" val="30641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28" imgH="328" progId="TCLayout.ActiveDocument.1">
                  <p:embed/>
                </p:oleObj>
              </mc:Choice>
              <mc:Fallback>
                <p:oleObj name="think-cell Slide" r:id="rId19" imgW="328" imgH="328" progId="TCLayout.ActiveDocument.1">
                  <p:embed/>
                  <p:pic>
                    <p:nvPicPr>
                      <p:cNvPr id="8" name="Object 7" hidden="1">
                        <a:extLst>
                          <a:ext uri="{FF2B5EF4-FFF2-40B4-BE49-F238E27FC236}">
                            <a16:creationId xmlns:a16="http://schemas.microsoft.com/office/drawing/2014/main" id="{217251AB-567E-8AF7-4B23-481DD954486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 uri="{C183D7F6-B498-43B3-948B-1728B52AA6E4}">
                <adec:decorative xmlns:adec="http://schemas.microsoft.com/office/drawing/2017/decorative" val="1"/>
              </a:ext>
            </a:extLst>
          </p:cNvPr>
          <p:cNvSpPr/>
          <p:nvPr userDrawn="1"/>
        </p:nvSpPr>
        <p:spPr>
          <a:xfrm>
            <a:off x="0" y="0"/>
            <a:ext cx="12192000" cy="1270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ACD74EFB-1EB2-C902-2EB7-7A5AC47A3130}"/>
              </a:ext>
              <a:ext uri="{C183D7F6-B498-43B3-948B-1728B52AA6E4}">
                <adec:decorative xmlns:adec="http://schemas.microsoft.com/office/drawing/2017/decorative" val="1"/>
              </a:ext>
            </a:extLst>
          </p:cNvPr>
          <p:cNvSpPr/>
          <p:nvPr userDrawn="1"/>
        </p:nvSpPr>
        <p:spPr>
          <a:xfrm>
            <a:off x="10389996" y="600837"/>
            <a:ext cx="94964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E7241B76-7122-AE56-0EFB-6DFFD069ADBB}"/>
              </a:ext>
              <a:ext uri="{C183D7F6-B498-43B3-948B-1728B52AA6E4}">
                <adec:decorative xmlns:adec="http://schemas.microsoft.com/office/drawing/2017/decorative" val="1"/>
              </a:ext>
            </a:extLst>
          </p:cNvPr>
          <p:cNvSpPr/>
          <p:nvPr userDrawn="1"/>
        </p:nvSpPr>
        <p:spPr>
          <a:xfrm>
            <a:off x="11339703" y="0"/>
            <a:ext cx="852296"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1AB8811A-2AF9-3D1A-7290-BC7B6EA26CFE}"/>
              </a:ext>
              <a:ext uri="{C183D7F6-B498-43B3-948B-1728B52AA6E4}">
                <adec:decorative xmlns:adec="http://schemas.microsoft.com/office/drawing/2017/decorative" val="1"/>
              </a:ext>
            </a:extLst>
          </p:cNvPr>
          <p:cNvSpPr/>
          <p:nvPr userDrawn="1"/>
        </p:nvSpPr>
        <p:spPr>
          <a:xfrm>
            <a:off x="11055604" y="0"/>
            <a:ext cx="852296"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F88C237B-3642-81D4-58BC-F75C75257471}"/>
              </a:ext>
              <a:ext uri="{C183D7F6-B498-43B3-948B-1728B52AA6E4}">
                <adec:decorative xmlns:adec="http://schemas.microsoft.com/office/drawing/2017/decorative" val="1"/>
              </a:ext>
            </a:extLst>
          </p:cNvPr>
          <p:cNvSpPr/>
          <p:nvPr userDrawn="1"/>
        </p:nvSpPr>
        <p:spPr>
          <a:xfrm>
            <a:off x="10706544" y="600837"/>
            <a:ext cx="94964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a:p>
        </p:txBody>
      </p:sp>
      <p:sp>
        <p:nvSpPr>
          <p:cNvPr id="4" name="Date Placeholder 3"/>
          <p:cNvSpPr>
            <a:spLocks noGrp="1"/>
          </p:cNvSpPr>
          <p:nvPr>
            <p:ph type="dt" sz="half" idx="2"/>
          </p:nvPr>
        </p:nvSpPr>
        <p:spPr>
          <a:xfrm>
            <a:off x="7423409" y="6353950"/>
            <a:ext cx="2584290" cy="360000"/>
          </a:xfrm>
          <a:prstGeom prst="rect">
            <a:avLst/>
          </a:prstGeom>
        </p:spPr>
        <p:txBody>
          <a:bodyPr vert="horz" lIns="0" tIns="0" rIns="0" bIns="0" rtlCol="0" anchor="ctr"/>
          <a:lstStyle>
            <a:lvl1pPr algn="r">
              <a:defRPr sz="1000">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647699" y="384467"/>
            <a:ext cx="9360000" cy="720000"/>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647699" y="1825625"/>
            <a:ext cx="9360000" cy="396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647699" y="6353950"/>
            <a:ext cx="5975238" cy="360000"/>
          </a:xfrm>
          <a:prstGeom prst="rect">
            <a:avLst/>
          </a:prstGeom>
        </p:spPr>
        <p:txBody>
          <a:bodyPr vert="horz" lIns="0" tIns="0" rIns="0" bIns="0" rtlCol="0" anchor="ctr"/>
          <a:lstStyle>
            <a:lvl1pPr algn="l">
              <a:defRPr sz="1000">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11468278" y="6353950"/>
            <a:ext cx="720000" cy="360000"/>
          </a:xfrm>
          <a:prstGeom prst="rect">
            <a:avLst/>
          </a:prstGeom>
        </p:spPr>
        <p:txBody>
          <a:bodyPr vert="horz" lIns="0" tIns="0" rIns="0" bIns="0" rtlCol="0" anchor="ctr"/>
          <a:lstStyle>
            <a:lvl1pPr algn="l">
              <a:defRPr sz="1000">
                <a:solidFill>
                  <a:schemeClr val="accent6"/>
                </a:solidFill>
              </a:defRPr>
            </a:lvl1pPr>
          </a:lstStyle>
          <a:p>
            <a:r>
              <a:rPr lang="en-GB"/>
              <a:t>Page </a:t>
            </a:r>
            <a:fld id="{F5AEA0E0-5CC6-4BD0-905C-A0021E419432}" type="slidenum">
              <a:rPr lang="en-GB" smtClean="0"/>
              <a:pPr/>
              <a:t>‹#›</a:t>
            </a:fld>
            <a:endParaRPr lang="en-GB" dirty="0"/>
          </a:p>
        </p:txBody>
      </p:sp>
      <p:cxnSp>
        <p:nvCxnSpPr>
          <p:cNvPr id="24" name="Straight Connector 23">
            <a:extLst>
              <a:ext uri="{FF2B5EF4-FFF2-40B4-BE49-F238E27FC236}">
                <a16:creationId xmlns:a16="http://schemas.microsoft.com/office/drawing/2014/main" id="{E2331FF9-7A58-D9D4-9E93-1D3FD3FC9D3D}"/>
              </a:ext>
              <a:ext uri="{C183D7F6-B498-43B3-948B-1728B52AA6E4}">
                <adec:decorative xmlns:adec="http://schemas.microsoft.com/office/drawing/2017/decorative" val="1"/>
              </a:ext>
            </a:extLst>
          </p:cNvPr>
          <p:cNvCxnSpPr/>
          <p:nvPr userDrawn="1"/>
        </p:nvCxnSpPr>
        <p:spPr>
          <a:xfrm>
            <a:off x="11322050" y="6464300"/>
            <a:ext cx="0" cy="15557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79" r:id="rId12"/>
    <p:sldLayoutId id="2147483689" r:id="rId13"/>
    <p:sldLayoutId id="2147483690" r:id="rId14"/>
    <p:sldLayoutId id="2147483675" r:id="rId15"/>
    <p:sldLayoutId id="2147483655" r:id="rId16"/>
  </p:sldLayoutIdLst>
  <p:hf hdr="0" dt="0"/>
  <p:txStyles>
    <p:titleStyle>
      <a:lvl1pPr algn="l" defTabSz="914400" rtl="0" eaLnBrk="1" latinLnBrk="0" hangingPunct="1">
        <a:lnSpc>
          <a:spcPct val="100000"/>
        </a:lnSpc>
        <a:spcBef>
          <a:spcPct val="0"/>
        </a:spcBef>
        <a:buNone/>
        <a:defRPr sz="2300"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b="1" kern="1200">
          <a:solidFill>
            <a:schemeClr val="accent6"/>
          </a:solidFill>
          <a:latin typeface="+mn-lt"/>
          <a:ea typeface="+mn-ea"/>
          <a:cs typeface="+mn-cs"/>
        </a:defRPr>
      </a:lvl1pPr>
      <a:lvl2pPr marL="0" indent="0" algn="l" defTabSz="914400" rtl="0" eaLnBrk="1" latinLnBrk="0" hangingPunct="1">
        <a:lnSpc>
          <a:spcPct val="100000"/>
        </a:lnSpc>
        <a:spcBef>
          <a:spcPts val="600"/>
        </a:spcBef>
        <a:buFont typeface="Arial" panose="020B0604020202020204" pitchFamily="34" charset="0"/>
        <a:buNone/>
        <a:defRPr sz="1800" kern="1200">
          <a:solidFill>
            <a:schemeClr val="accent6"/>
          </a:solidFill>
          <a:latin typeface="+mn-lt"/>
          <a:ea typeface="+mn-ea"/>
          <a:cs typeface="+mn-cs"/>
        </a:defRPr>
      </a:lvl2pPr>
      <a:lvl3pPr marL="180000" indent="-180000" algn="l" defTabSz="914400" rtl="0" eaLnBrk="1" latinLnBrk="0" hangingPunct="1">
        <a:lnSpc>
          <a:spcPct val="100000"/>
        </a:lnSpc>
        <a:spcBef>
          <a:spcPts val="600"/>
        </a:spcBef>
        <a:buClr>
          <a:schemeClr val="accent3"/>
        </a:buClr>
        <a:buFont typeface="Arial" panose="020B0604020202020204" pitchFamily="34" charset="0"/>
        <a:buChar char="•"/>
        <a:defRPr sz="1800" kern="1200">
          <a:solidFill>
            <a:schemeClr val="accent6"/>
          </a:solidFill>
          <a:latin typeface="+mn-lt"/>
          <a:ea typeface="+mn-ea"/>
          <a:cs typeface="+mn-cs"/>
        </a:defRPr>
      </a:lvl3pPr>
      <a:lvl4pPr marL="360000" indent="-180000" algn="l" defTabSz="914400" rtl="0" eaLnBrk="1" latinLnBrk="0" hangingPunct="1">
        <a:lnSpc>
          <a:spcPct val="100000"/>
        </a:lnSpc>
        <a:spcBef>
          <a:spcPts val="1200"/>
        </a:spcBef>
        <a:spcAft>
          <a:spcPts val="1200"/>
        </a:spcAft>
        <a:buClr>
          <a:schemeClr val="accent2"/>
        </a:buClr>
        <a:buFont typeface="Arial" panose="020B0604020202020204" pitchFamily="34" charset="0"/>
        <a:buChar char="•"/>
        <a:defRPr sz="1800" b="0" i="0" kern="1200">
          <a:solidFill>
            <a:schemeClr val="accent6"/>
          </a:solidFill>
          <a:latin typeface="+mn-lt"/>
          <a:ea typeface="+mn-ea"/>
          <a:cs typeface="+mn-cs"/>
        </a:defRPr>
      </a:lvl4pPr>
      <a:lvl5pPr marL="0" indent="0" algn="l" defTabSz="914400" rtl="0" eaLnBrk="1" latinLnBrk="0" hangingPunct="1">
        <a:lnSpc>
          <a:spcPct val="100000"/>
        </a:lnSpc>
        <a:spcBef>
          <a:spcPts val="600"/>
        </a:spcBef>
        <a:buFont typeface="Arial" panose="020B0604020202020204" pitchFamily="34" charset="0"/>
        <a:buNone/>
        <a:defRPr sz="1800" kern="1200">
          <a:solidFill>
            <a:schemeClr val="accent6"/>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8B1229B-F8AC-ABA2-B118-BCAF6C5809A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07971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12" name="Object 11" hidden="1">
                        <a:extLst>
                          <a:ext uri="{FF2B5EF4-FFF2-40B4-BE49-F238E27FC236}">
                            <a16:creationId xmlns:a16="http://schemas.microsoft.com/office/drawing/2014/main" id="{08B1229B-F8AC-ABA2-B118-BCAF6C5809A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C23A05B-338A-E882-D37C-C09A4BEA8CED}"/>
              </a:ext>
            </a:extLst>
          </p:cNvPr>
          <p:cNvSpPr>
            <a:spLocks noGrp="1"/>
          </p:cNvSpPr>
          <p:nvPr>
            <p:ph type="title"/>
          </p:nvPr>
        </p:nvSpPr>
        <p:spPr/>
        <p:txBody>
          <a:bodyPr vert="horz"/>
          <a:lstStyle/>
          <a:p>
            <a:r>
              <a:rPr lang="en-AU" dirty="0"/>
              <a:t>Apply pre-app meeting criteria decision tree</a:t>
            </a:r>
          </a:p>
        </p:txBody>
      </p:sp>
      <p:sp>
        <p:nvSpPr>
          <p:cNvPr id="14" name="Google Shape;272;p2">
            <a:extLst>
              <a:ext uri="{FF2B5EF4-FFF2-40B4-BE49-F238E27FC236}">
                <a16:creationId xmlns:a16="http://schemas.microsoft.com/office/drawing/2014/main" id="{0AB70826-684E-D526-D17E-3327365C41AD}"/>
              </a:ext>
            </a:extLst>
          </p:cNvPr>
          <p:cNvSpPr/>
          <p:nvPr/>
        </p:nvSpPr>
        <p:spPr>
          <a:xfrm>
            <a:off x="1485541" y="1365184"/>
            <a:ext cx="9247600" cy="304451"/>
          </a:xfrm>
          <a:prstGeom prst="rect">
            <a:avLst/>
          </a:prstGeom>
          <a:solidFill>
            <a:schemeClr val="accent6"/>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algn="ctr">
              <a:buSzPts val="1000"/>
            </a:pPr>
            <a:r>
              <a:rPr lang="en-AU" sz="1000" b="1" dirty="0">
                <a:solidFill>
                  <a:schemeClr val="bg1"/>
                </a:solidFill>
                <a:ea typeface="Calibri"/>
                <a:cs typeface="Calibri"/>
                <a:sym typeface="Calibri"/>
              </a:rPr>
              <a:t>What is your application for</a:t>
            </a:r>
            <a:r>
              <a:rPr lang="en-AU" sz="1000" b="1" i="0" u="none" strike="noStrike" cap="none" dirty="0">
                <a:solidFill>
                  <a:schemeClr val="bg1"/>
                </a:solidFill>
                <a:ea typeface="Calibri"/>
                <a:cs typeface="Calibri"/>
                <a:sym typeface="Calibri"/>
              </a:rPr>
              <a:t>?</a:t>
            </a:r>
            <a:endParaRPr lang="en-US" sz="1000" b="1" i="0" u="none" strike="noStrike" cap="none" dirty="0">
              <a:solidFill>
                <a:schemeClr val="bg1"/>
              </a:solidFill>
              <a:ea typeface="Arial"/>
              <a:cs typeface="Arial"/>
            </a:endParaRPr>
          </a:p>
        </p:txBody>
      </p:sp>
      <p:sp>
        <p:nvSpPr>
          <p:cNvPr id="15" name="Google Shape;273;p2">
            <a:extLst>
              <a:ext uri="{FF2B5EF4-FFF2-40B4-BE49-F238E27FC236}">
                <a16:creationId xmlns:a16="http://schemas.microsoft.com/office/drawing/2014/main" id="{241CCAD2-207C-741D-647B-D06B0BC0B52A}"/>
              </a:ext>
            </a:extLst>
          </p:cNvPr>
          <p:cNvSpPr/>
          <p:nvPr/>
        </p:nvSpPr>
        <p:spPr>
          <a:xfrm>
            <a:off x="535233" y="2000375"/>
            <a:ext cx="1890177" cy="304451"/>
          </a:xfrm>
          <a:prstGeom prst="rect">
            <a:avLst/>
          </a:prstGeom>
          <a:solidFill>
            <a:schemeClr val="bg1">
              <a:lumMod val="95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Extension or new dwelling</a:t>
            </a:r>
            <a:endParaRPr sz="1400" b="0" i="0" u="none" strike="noStrike" cap="none" dirty="0">
              <a:solidFill>
                <a:schemeClr val="tx1"/>
              </a:solidFill>
              <a:ea typeface="Arial"/>
              <a:cs typeface="Arial"/>
              <a:sym typeface="Arial"/>
            </a:endParaRPr>
          </a:p>
        </p:txBody>
      </p:sp>
      <p:sp>
        <p:nvSpPr>
          <p:cNvPr id="25" name="Google Shape;283;p2">
            <a:extLst>
              <a:ext uri="{FF2B5EF4-FFF2-40B4-BE49-F238E27FC236}">
                <a16:creationId xmlns:a16="http://schemas.microsoft.com/office/drawing/2014/main" id="{D28C34E9-8F83-767E-53F4-D73899295AAF}"/>
              </a:ext>
            </a:extLst>
          </p:cNvPr>
          <p:cNvSpPr/>
          <p:nvPr/>
        </p:nvSpPr>
        <p:spPr>
          <a:xfrm>
            <a:off x="1185597" y="2666422"/>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19" name="Google Shape;277;p2">
            <a:extLst>
              <a:ext uri="{FF2B5EF4-FFF2-40B4-BE49-F238E27FC236}">
                <a16:creationId xmlns:a16="http://schemas.microsoft.com/office/drawing/2014/main" id="{D96DF908-49C2-8059-245F-97008C7234D0}"/>
              </a:ext>
            </a:extLst>
          </p:cNvPr>
          <p:cNvSpPr/>
          <p:nvPr/>
        </p:nvSpPr>
        <p:spPr>
          <a:xfrm>
            <a:off x="303024" y="3082581"/>
            <a:ext cx="2347918" cy="324412"/>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Are you meeting the requirements of the overlays for your site (e.g., NCO)?</a:t>
            </a:r>
            <a:endParaRPr sz="1400" i="0" u="none" strike="noStrike" cap="none" dirty="0">
              <a:solidFill>
                <a:schemeClr val="tx1"/>
              </a:solidFill>
              <a:ea typeface="Arial"/>
              <a:cs typeface="Arial"/>
              <a:sym typeface="Arial"/>
            </a:endParaRPr>
          </a:p>
        </p:txBody>
      </p:sp>
      <p:sp>
        <p:nvSpPr>
          <p:cNvPr id="28" name="Google Shape;286;p2">
            <a:extLst>
              <a:ext uri="{FF2B5EF4-FFF2-40B4-BE49-F238E27FC236}">
                <a16:creationId xmlns:a16="http://schemas.microsoft.com/office/drawing/2014/main" id="{9AE9F312-3137-870B-940F-448721022572}"/>
              </a:ext>
            </a:extLst>
          </p:cNvPr>
          <p:cNvSpPr/>
          <p:nvPr/>
        </p:nvSpPr>
        <p:spPr>
          <a:xfrm>
            <a:off x="1756518" y="3801397"/>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45" name="Google Shape;304;p2">
            <a:extLst>
              <a:ext uri="{FF2B5EF4-FFF2-40B4-BE49-F238E27FC236}">
                <a16:creationId xmlns:a16="http://schemas.microsoft.com/office/drawing/2014/main" id="{3F7BA027-D806-4CFC-417F-C4EFDAD51173}"/>
              </a:ext>
            </a:extLst>
          </p:cNvPr>
          <p:cNvSpPr/>
          <p:nvPr/>
        </p:nvSpPr>
        <p:spPr>
          <a:xfrm>
            <a:off x="4017215" y="4046526"/>
            <a:ext cx="1964962" cy="282290"/>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Do you have specific questions for a planning officer?</a:t>
            </a:r>
            <a:endParaRPr sz="1400" i="0" u="none" strike="noStrike" cap="none" dirty="0">
              <a:solidFill>
                <a:schemeClr val="tx1"/>
              </a:solidFill>
              <a:ea typeface="Arial"/>
              <a:cs typeface="Arial"/>
              <a:sym typeface="Arial"/>
            </a:endParaRPr>
          </a:p>
        </p:txBody>
      </p:sp>
      <p:sp>
        <p:nvSpPr>
          <p:cNvPr id="53" name="Google Shape;312;p2">
            <a:extLst>
              <a:ext uri="{FF2B5EF4-FFF2-40B4-BE49-F238E27FC236}">
                <a16:creationId xmlns:a16="http://schemas.microsoft.com/office/drawing/2014/main" id="{A7892FA3-3F9A-DFD3-8C0A-FEBCDD3BAB42}"/>
              </a:ext>
            </a:extLst>
          </p:cNvPr>
          <p:cNvSpPr/>
          <p:nvPr/>
        </p:nvSpPr>
        <p:spPr>
          <a:xfrm>
            <a:off x="5380009" y="4604087"/>
            <a:ext cx="582769" cy="206634"/>
          </a:xfrm>
          <a:prstGeom prst="rect">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No</a:t>
            </a:r>
            <a:endParaRPr sz="1400" b="1" i="0" u="none" strike="noStrike" cap="none" dirty="0">
              <a:solidFill>
                <a:schemeClr val="tx1"/>
              </a:solidFill>
              <a:ea typeface="Arial"/>
              <a:cs typeface="Arial"/>
              <a:sym typeface="Arial"/>
            </a:endParaRPr>
          </a:p>
        </p:txBody>
      </p:sp>
      <p:sp>
        <p:nvSpPr>
          <p:cNvPr id="49" name="Google Shape;308;p2">
            <a:extLst>
              <a:ext uri="{FF2B5EF4-FFF2-40B4-BE49-F238E27FC236}">
                <a16:creationId xmlns:a16="http://schemas.microsoft.com/office/drawing/2014/main" id="{83B089A5-577D-75F5-1B3C-AA46B6C2EF21}"/>
              </a:ext>
            </a:extLst>
          </p:cNvPr>
          <p:cNvSpPr/>
          <p:nvPr/>
        </p:nvSpPr>
        <p:spPr>
          <a:xfrm>
            <a:off x="3793772" y="6370211"/>
            <a:ext cx="1907512" cy="426692"/>
          </a:xfrm>
          <a:prstGeom prst="rect">
            <a:avLst/>
          </a:prstGeom>
          <a:solidFill>
            <a:schemeClr val="accent6"/>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bg1"/>
                </a:solidFill>
                <a:ea typeface="Calibri"/>
                <a:cs typeface="Calibri"/>
                <a:sym typeface="Calibri"/>
              </a:rPr>
              <a:t>Prepare and lodge your planning permit application</a:t>
            </a:r>
            <a:endParaRPr sz="1400" b="0" i="0" u="none" strike="noStrike" cap="none" dirty="0">
              <a:solidFill>
                <a:schemeClr val="bg1"/>
              </a:solidFill>
              <a:ea typeface="Arial"/>
              <a:cs typeface="Arial"/>
              <a:sym typeface="Arial"/>
            </a:endParaRPr>
          </a:p>
        </p:txBody>
      </p:sp>
      <p:sp>
        <p:nvSpPr>
          <p:cNvPr id="52" name="Google Shape;311;p2">
            <a:extLst>
              <a:ext uri="{FF2B5EF4-FFF2-40B4-BE49-F238E27FC236}">
                <a16:creationId xmlns:a16="http://schemas.microsoft.com/office/drawing/2014/main" id="{6ECF7131-BB66-6B2B-6FED-08346B4C236F}"/>
              </a:ext>
            </a:extLst>
          </p:cNvPr>
          <p:cNvSpPr/>
          <p:nvPr/>
        </p:nvSpPr>
        <p:spPr>
          <a:xfrm>
            <a:off x="4106796" y="4604087"/>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29" name="Google Shape;287;p2">
            <a:extLst>
              <a:ext uri="{FF2B5EF4-FFF2-40B4-BE49-F238E27FC236}">
                <a16:creationId xmlns:a16="http://schemas.microsoft.com/office/drawing/2014/main" id="{82506D0B-C0B9-0402-027B-98353B4249E2}"/>
              </a:ext>
              <a:ext uri="{C183D7F6-B498-43B3-948B-1728B52AA6E4}">
                <adec:decorative xmlns:adec="http://schemas.microsoft.com/office/drawing/2017/decorative" val="1"/>
              </a:ext>
            </a:extLst>
          </p:cNvPr>
          <p:cNvSpPr/>
          <p:nvPr/>
        </p:nvSpPr>
        <p:spPr>
          <a:xfrm>
            <a:off x="303023" y="3801398"/>
            <a:ext cx="1162762" cy="206558"/>
          </a:xfrm>
          <a:prstGeom prst="rect">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No or unsure</a:t>
            </a:r>
            <a:endParaRPr sz="1400" b="1" i="0" u="none" strike="noStrike" cap="none" dirty="0">
              <a:solidFill>
                <a:schemeClr val="tx1"/>
              </a:solidFill>
              <a:ea typeface="Arial"/>
              <a:cs typeface="Arial"/>
              <a:sym typeface="Arial"/>
            </a:endParaRPr>
          </a:p>
        </p:txBody>
      </p:sp>
      <p:sp>
        <p:nvSpPr>
          <p:cNvPr id="46" name="Google Shape;305;p2">
            <a:extLst>
              <a:ext uri="{FF2B5EF4-FFF2-40B4-BE49-F238E27FC236}">
                <a16:creationId xmlns:a16="http://schemas.microsoft.com/office/drawing/2014/main" id="{A3763581-0C86-67E5-716D-B4371FD9ACA8}"/>
              </a:ext>
            </a:extLst>
          </p:cNvPr>
          <p:cNvSpPr/>
          <p:nvPr/>
        </p:nvSpPr>
        <p:spPr>
          <a:xfrm>
            <a:off x="320342" y="4312687"/>
            <a:ext cx="2330600" cy="236218"/>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Do you have concept plans available</a:t>
            </a:r>
            <a:r>
              <a:rPr lang="en-AU" sz="1000" i="0" u="none" strike="noStrike" cap="none" dirty="0">
                <a:solidFill>
                  <a:srgbClr val="1E4E79"/>
                </a:solidFill>
                <a:latin typeface="Calibri"/>
                <a:ea typeface="Calibri"/>
                <a:cs typeface="Calibri"/>
                <a:sym typeface="Calibri"/>
              </a:rPr>
              <a:t>?</a:t>
            </a:r>
            <a:endParaRPr sz="1400" i="0" u="none" strike="noStrike" cap="none" dirty="0">
              <a:solidFill>
                <a:srgbClr val="000000"/>
              </a:solidFill>
              <a:latin typeface="Arial"/>
              <a:ea typeface="Arial"/>
              <a:cs typeface="Arial"/>
              <a:sym typeface="Arial"/>
            </a:endParaRPr>
          </a:p>
        </p:txBody>
      </p:sp>
      <p:sp>
        <p:nvSpPr>
          <p:cNvPr id="56" name="Google Shape;315;p2">
            <a:extLst>
              <a:ext uri="{FF2B5EF4-FFF2-40B4-BE49-F238E27FC236}">
                <a16:creationId xmlns:a16="http://schemas.microsoft.com/office/drawing/2014/main" id="{01332FAB-E7EB-F5DB-775F-CE8CA2A9488E}"/>
              </a:ext>
            </a:extLst>
          </p:cNvPr>
          <p:cNvSpPr/>
          <p:nvPr/>
        </p:nvSpPr>
        <p:spPr>
          <a:xfrm>
            <a:off x="535897" y="4873084"/>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47" name="Google Shape;306;p2">
            <a:extLst>
              <a:ext uri="{FF2B5EF4-FFF2-40B4-BE49-F238E27FC236}">
                <a16:creationId xmlns:a16="http://schemas.microsoft.com/office/drawing/2014/main" id="{2FF5F55C-EAA7-0437-EF90-58E111BC51CD}"/>
              </a:ext>
            </a:extLst>
          </p:cNvPr>
          <p:cNvSpPr/>
          <p:nvPr/>
        </p:nvSpPr>
        <p:spPr>
          <a:xfrm>
            <a:off x="182321" y="5388628"/>
            <a:ext cx="2675032" cy="302042"/>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Are you willing to amend your proposal based on the planning officer’s feedback?</a:t>
            </a:r>
            <a:endParaRPr sz="1400" i="0" u="none" strike="noStrike" cap="none" dirty="0">
              <a:solidFill>
                <a:schemeClr val="tx1"/>
              </a:solidFill>
              <a:ea typeface="Arial"/>
              <a:cs typeface="Arial"/>
              <a:sym typeface="Arial"/>
            </a:endParaRPr>
          </a:p>
        </p:txBody>
      </p:sp>
      <p:sp>
        <p:nvSpPr>
          <p:cNvPr id="61" name="Google Shape;320;p2">
            <a:extLst>
              <a:ext uri="{FF2B5EF4-FFF2-40B4-BE49-F238E27FC236}">
                <a16:creationId xmlns:a16="http://schemas.microsoft.com/office/drawing/2014/main" id="{BF7C128C-D0C5-E518-3211-5D64D899055A}"/>
              </a:ext>
            </a:extLst>
          </p:cNvPr>
          <p:cNvSpPr/>
          <p:nvPr/>
        </p:nvSpPr>
        <p:spPr>
          <a:xfrm>
            <a:off x="527065" y="5998069"/>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48" name="Google Shape;307;p2">
            <a:extLst>
              <a:ext uri="{FF2B5EF4-FFF2-40B4-BE49-F238E27FC236}">
                <a16:creationId xmlns:a16="http://schemas.microsoft.com/office/drawing/2014/main" id="{D201DC3F-EB40-8534-9DA0-71D81C47913D}"/>
              </a:ext>
            </a:extLst>
          </p:cNvPr>
          <p:cNvSpPr/>
          <p:nvPr/>
        </p:nvSpPr>
        <p:spPr>
          <a:xfrm>
            <a:off x="574748" y="6447348"/>
            <a:ext cx="1890099" cy="351939"/>
          </a:xfrm>
          <a:prstGeom prst="rect">
            <a:avLst/>
          </a:prstGeom>
          <a:solidFill>
            <a:schemeClr val="accent6"/>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bg1"/>
                </a:solidFill>
                <a:ea typeface="Calibri"/>
                <a:cs typeface="Calibri"/>
                <a:sym typeface="Calibri"/>
              </a:rPr>
              <a:t>Book a pre-application meeting</a:t>
            </a:r>
            <a:endParaRPr sz="1400" b="0" i="0" u="none" strike="noStrike" cap="none" dirty="0">
              <a:solidFill>
                <a:schemeClr val="bg1"/>
              </a:solidFill>
              <a:ea typeface="Arial"/>
              <a:cs typeface="Arial"/>
              <a:sym typeface="Arial"/>
            </a:endParaRPr>
          </a:p>
        </p:txBody>
      </p:sp>
      <p:sp>
        <p:nvSpPr>
          <p:cNvPr id="2" name="Google Shape;305;p2">
            <a:extLst>
              <a:ext uri="{FF2B5EF4-FFF2-40B4-BE49-F238E27FC236}">
                <a16:creationId xmlns:a16="http://schemas.microsoft.com/office/drawing/2014/main" id="{731413AF-F08E-EDBE-1D78-C25C7473AFF5}"/>
              </a:ext>
            </a:extLst>
          </p:cNvPr>
          <p:cNvSpPr/>
          <p:nvPr/>
        </p:nvSpPr>
        <p:spPr>
          <a:xfrm>
            <a:off x="-2441480" y="4391128"/>
            <a:ext cx="2330600" cy="236218"/>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Do you have concept plans available</a:t>
            </a:r>
            <a:r>
              <a:rPr lang="en-AU" sz="1000" i="0" u="none" strike="noStrike" cap="none" dirty="0">
                <a:solidFill>
                  <a:srgbClr val="1E4E79"/>
                </a:solidFill>
                <a:latin typeface="Calibri"/>
                <a:ea typeface="Calibri"/>
                <a:cs typeface="Calibri"/>
                <a:sym typeface="Calibri"/>
              </a:rPr>
              <a:t>?</a:t>
            </a:r>
            <a:endParaRPr sz="1400" i="0" u="none" strike="noStrike" cap="none" dirty="0">
              <a:solidFill>
                <a:srgbClr val="000000"/>
              </a:solidFill>
              <a:latin typeface="Arial"/>
              <a:ea typeface="Arial"/>
              <a:cs typeface="Arial"/>
              <a:sym typeface="Arial"/>
            </a:endParaRPr>
          </a:p>
        </p:txBody>
      </p:sp>
      <p:sp>
        <p:nvSpPr>
          <p:cNvPr id="57" name="Google Shape;316;p2">
            <a:extLst>
              <a:ext uri="{FF2B5EF4-FFF2-40B4-BE49-F238E27FC236}">
                <a16:creationId xmlns:a16="http://schemas.microsoft.com/office/drawing/2014/main" id="{F1281A35-E41B-17CA-0EC2-66C4E58CA293}"/>
              </a:ext>
            </a:extLst>
          </p:cNvPr>
          <p:cNvSpPr/>
          <p:nvPr/>
        </p:nvSpPr>
        <p:spPr>
          <a:xfrm>
            <a:off x="1809109" y="4873084"/>
            <a:ext cx="582769" cy="206634"/>
          </a:xfrm>
          <a:prstGeom prst="rect">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No</a:t>
            </a:r>
            <a:endParaRPr sz="1400" b="1" i="0" u="none" strike="noStrike" cap="none" dirty="0">
              <a:solidFill>
                <a:schemeClr val="tx1"/>
              </a:solidFill>
              <a:ea typeface="Arial"/>
              <a:cs typeface="Arial"/>
              <a:sym typeface="Arial"/>
            </a:endParaRPr>
          </a:p>
        </p:txBody>
      </p:sp>
      <p:sp>
        <p:nvSpPr>
          <p:cNvPr id="50" name="Google Shape;309;p2">
            <a:extLst>
              <a:ext uri="{FF2B5EF4-FFF2-40B4-BE49-F238E27FC236}">
                <a16:creationId xmlns:a16="http://schemas.microsoft.com/office/drawing/2014/main" id="{465D6C71-797D-596D-9753-8216D05BAA55}"/>
              </a:ext>
            </a:extLst>
          </p:cNvPr>
          <p:cNvSpPr/>
          <p:nvPr/>
        </p:nvSpPr>
        <p:spPr>
          <a:xfrm>
            <a:off x="7358124" y="5283527"/>
            <a:ext cx="1079582" cy="218170"/>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algn="ctr">
              <a:buSzPts val="1000"/>
            </a:pPr>
            <a:r>
              <a:rPr lang="en-AU" sz="1000" b="0" i="0" u="none" strike="noStrike" cap="none" dirty="0">
                <a:solidFill>
                  <a:schemeClr val="tx1"/>
                </a:solidFill>
                <a:ea typeface="Calibri"/>
                <a:cs typeface="Calibri"/>
                <a:sym typeface="Calibri"/>
              </a:rPr>
              <a:t>Develop </a:t>
            </a:r>
            <a:r>
              <a:rPr lang="en-AU" sz="1000" dirty="0">
                <a:solidFill>
                  <a:schemeClr val="tx1"/>
                </a:solidFill>
                <a:ea typeface="Calibri"/>
                <a:cs typeface="Calibri"/>
                <a:sym typeface="Calibri"/>
              </a:rPr>
              <a:t>plans</a:t>
            </a:r>
            <a:endParaRPr lang="en-AU" sz="1000" b="0" i="0" u="none" strike="noStrike" cap="none" dirty="0">
              <a:solidFill>
                <a:schemeClr val="tx1"/>
              </a:solidFill>
              <a:cs typeface="Calibri"/>
            </a:endParaRPr>
          </a:p>
        </p:txBody>
      </p:sp>
      <p:sp>
        <p:nvSpPr>
          <p:cNvPr id="51" name="Google Shape;310;p2">
            <a:extLst>
              <a:ext uri="{FF2B5EF4-FFF2-40B4-BE49-F238E27FC236}">
                <a16:creationId xmlns:a16="http://schemas.microsoft.com/office/drawing/2014/main" id="{A964FC7E-9DD6-0E8F-7BD9-77A63EEE3299}"/>
              </a:ext>
            </a:extLst>
          </p:cNvPr>
          <p:cNvSpPr/>
          <p:nvPr/>
        </p:nvSpPr>
        <p:spPr>
          <a:xfrm>
            <a:off x="6613992" y="6371696"/>
            <a:ext cx="2567846" cy="443991"/>
          </a:xfrm>
          <a:prstGeom prst="rect">
            <a:avLst/>
          </a:prstGeom>
          <a:solidFill>
            <a:schemeClr val="accent6"/>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bg1"/>
                </a:solidFill>
                <a:ea typeface="Calibri"/>
                <a:cs typeface="Calibri"/>
                <a:sym typeface="Calibri"/>
              </a:rPr>
              <a:t>When your plans have been drafted, return to the start of this decision tree</a:t>
            </a:r>
            <a:endParaRPr lang="en-US" sz="1400" b="1" i="0" u="none" strike="noStrike" cap="none" dirty="0">
              <a:solidFill>
                <a:schemeClr val="bg1"/>
              </a:solidFill>
              <a:ea typeface="Arial"/>
              <a:cs typeface="Arial"/>
            </a:endParaRPr>
          </a:p>
        </p:txBody>
      </p:sp>
      <p:sp>
        <p:nvSpPr>
          <p:cNvPr id="4" name="TextBox 3">
            <a:extLst>
              <a:ext uri="{FF2B5EF4-FFF2-40B4-BE49-F238E27FC236}">
                <a16:creationId xmlns:a16="http://schemas.microsoft.com/office/drawing/2014/main" id="{B09AFC0D-E492-144B-25DB-B75D5C294A34}"/>
              </a:ext>
            </a:extLst>
          </p:cNvPr>
          <p:cNvSpPr txBox="1"/>
          <p:nvPr/>
        </p:nvSpPr>
        <p:spPr>
          <a:xfrm>
            <a:off x="-5568997" y="1326469"/>
            <a:ext cx="7315200" cy="369332"/>
          </a:xfrm>
          <a:prstGeom prst="rect">
            <a:avLst/>
          </a:prstGeom>
          <a:noFill/>
        </p:spPr>
        <p:txBody>
          <a:bodyPr wrap="square">
            <a:spAutoFit/>
          </a:bodyPr>
          <a:lstStyle/>
          <a:p>
            <a:pPr algn="ctr">
              <a:buSzPts val="1000"/>
            </a:pPr>
            <a:r>
              <a:rPr lang="en-AU" sz="1800" b="1" dirty="0">
                <a:solidFill>
                  <a:schemeClr val="bg1"/>
                </a:solidFill>
                <a:ea typeface="Calibri"/>
                <a:cs typeface="Calibri"/>
                <a:sym typeface="Calibri"/>
              </a:rPr>
              <a:t>What is your application for</a:t>
            </a:r>
            <a:r>
              <a:rPr lang="en-AU" sz="1800" b="1" i="0" u="none" strike="noStrike" cap="none" dirty="0">
                <a:solidFill>
                  <a:schemeClr val="bg1"/>
                </a:solidFill>
                <a:ea typeface="Calibri"/>
                <a:cs typeface="Calibri"/>
                <a:sym typeface="Calibri"/>
              </a:rPr>
              <a:t>?</a:t>
            </a:r>
            <a:endParaRPr lang="en-US" sz="1800" b="1" i="0" u="none" strike="noStrike" cap="none" dirty="0">
              <a:solidFill>
                <a:schemeClr val="bg1"/>
              </a:solidFill>
              <a:ea typeface="Arial"/>
              <a:cs typeface="Arial"/>
            </a:endParaRPr>
          </a:p>
        </p:txBody>
      </p:sp>
      <p:sp>
        <p:nvSpPr>
          <p:cNvPr id="16" name="Google Shape;274;p2">
            <a:extLst>
              <a:ext uri="{FF2B5EF4-FFF2-40B4-BE49-F238E27FC236}">
                <a16:creationId xmlns:a16="http://schemas.microsoft.com/office/drawing/2014/main" id="{B2977005-1BE7-7B3D-7667-B92467E56C8E}"/>
              </a:ext>
            </a:extLst>
          </p:cNvPr>
          <p:cNvSpPr/>
          <p:nvPr/>
        </p:nvSpPr>
        <p:spPr>
          <a:xfrm>
            <a:off x="3342830" y="2000375"/>
            <a:ext cx="3313732" cy="484358"/>
          </a:xfrm>
          <a:prstGeom prst="rect">
            <a:avLst/>
          </a:prstGeom>
          <a:solidFill>
            <a:schemeClr val="bg1">
              <a:lumMod val="95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Multi-dwelling or multi-lot</a:t>
            </a:r>
            <a:endParaRPr lang="en-US" sz="1000" b="0" i="0" u="none" strike="noStrike" cap="none" dirty="0">
              <a:solidFill>
                <a:schemeClr val="tx1"/>
              </a:solidFill>
              <a:ea typeface="Arial"/>
              <a:cs typeface="Arial"/>
            </a:endParaRPr>
          </a:p>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Large scale commercial and industrial developments</a:t>
            </a:r>
            <a:endParaRPr sz="1400" b="0" i="0" u="none" strike="noStrike" cap="none" dirty="0">
              <a:solidFill>
                <a:schemeClr val="tx1"/>
              </a:solidFill>
              <a:ea typeface="Arial"/>
              <a:cs typeface="Arial"/>
              <a:sym typeface="Arial"/>
            </a:endParaRPr>
          </a:p>
        </p:txBody>
      </p:sp>
      <p:sp>
        <p:nvSpPr>
          <p:cNvPr id="24" name="Google Shape;282;p2">
            <a:extLst>
              <a:ext uri="{FF2B5EF4-FFF2-40B4-BE49-F238E27FC236}">
                <a16:creationId xmlns:a16="http://schemas.microsoft.com/office/drawing/2014/main" id="{4A81A5ED-1417-05CC-F8D1-6359B7074602}"/>
              </a:ext>
            </a:extLst>
          </p:cNvPr>
          <p:cNvSpPr/>
          <p:nvPr/>
        </p:nvSpPr>
        <p:spPr>
          <a:xfrm>
            <a:off x="4708312" y="2666422"/>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37" name="Google Shape;296;p2">
            <a:extLst>
              <a:ext uri="{FF2B5EF4-FFF2-40B4-BE49-F238E27FC236}">
                <a16:creationId xmlns:a16="http://schemas.microsoft.com/office/drawing/2014/main" id="{F4BC24EB-B70C-B62B-0436-224A304D5365}"/>
              </a:ext>
            </a:extLst>
          </p:cNvPr>
          <p:cNvSpPr/>
          <p:nvPr/>
        </p:nvSpPr>
        <p:spPr>
          <a:xfrm>
            <a:off x="3806940" y="3095674"/>
            <a:ext cx="2385514" cy="206636"/>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i="0" u="none" strike="noStrike" cap="none" dirty="0">
                <a:solidFill>
                  <a:schemeClr val="tx1"/>
                </a:solidFill>
                <a:ea typeface="Calibri"/>
                <a:cs typeface="Calibri"/>
                <a:sym typeface="Calibri"/>
              </a:rPr>
              <a:t>Have you had help from a consultant?</a:t>
            </a:r>
            <a:endParaRPr sz="1400" i="0" u="none" strike="noStrike" cap="none" dirty="0">
              <a:solidFill>
                <a:schemeClr val="tx1"/>
              </a:solidFill>
              <a:ea typeface="Arial"/>
              <a:cs typeface="Arial"/>
              <a:sym typeface="Arial"/>
            </a:endParaRPr>
          </a:p>
        </p:txBody>
      </p:sp>
      <p:sp>
        <p:nvSpPr>
          <p:cNvPr id="31" name="Google Shape;289;p2">
            <a:extLst>
              <a:ext uri="{FF2B5EF4-FFF2-40B4-BE49-F238E27FC236}">
                <a16:creationId xmlns:a16="http://schemas.microsoft.com/office/drawing/2014/main" id="{09A0EDFC-9CF5-4C07-9966-C2FFD3E17D98}"/>
              </a:ext>
            </a:extLst>
          </p:cNvPr>
          <p:cNvSpPr/>
          <p:nvPr/>
        </p:nvSpPr>
        <p:spPr>
          <a:xfrm>
            <a:off x="5380009" y="3631631"/>
            <a:ext cx="582769" cy="206634"/>
          </a:xfrm>
          <a:prstGeom prst="rect">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No</a:t>
            </a:r>
            <a:endParaRPr sz="1400" b="1" i="0" u="none" strike="noStrike" cap="none" dirty="0">
              <a:solidFill>
                <a:schemeClr val="tx1"/>
              </a:solidFill>
              <a:ea typeface="Arial"/>
              <a:cs typeface="Arial"/>
              <a:sym typeface="Arial"/>
            </a:endParaRPr>
          </a:p>
        </p:txBody>
      </p:sp>
      <p:sp>
        <p:nvSpPr>
          <p:cNvPr id="17" name="Google Shape;275;p2">
            <a:extLst>
              <a:ext uri="{FF2B5EF4-FFF2-40B4-BE49-F238E27FC236}">
                <a16:creationId xmlns:a16="http://schemas.microsoft.com/office/drawing/2014/main" id="{5BAEC132-4558-26D6-1A55-F1F4A2F928AE}"/>
              </a:ext>
            </a:extLst>
          </p:cNvPr>
          <p:cNvSpPr/>
          <p:nvPr/>
        </p:nvSpPr>
        <p:spPr>
          <a:xfrm>
            <a:off x="6954702" y="2000375"/>
            <a:ext cx="1890177" cy="484358"/>
          </a:xfrm>
          <a:prstGeom prst="rect">
            <a:avLst/>
          </a:prstGeom>
          <a:solidFill>
            <a:schemeClr val="bg1">
              <a:lumMod val="95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Minor structures </a:t>
            </a:r>
            <a:br>
              <a:rPr lang="en-AU" sz="1000" b="0" i="0" u="none" strike="noStrike" cap="none" dirty="0">
                <a:solidFill>
                  <a:schemeClr val="tx1"/>
                </a:solidFill>
                <a:ea typeface="Calibri"/>
                <a:cs typeface="Calibri"/>
                <a:sym typeface="Calibri"/>
              </a:rPr>
            </a:br>
            <a:r>
              <a:rPr lang="en-AU" sz="1000" b="0" i="0" u="none" strike="noStrike" cap="none" dirty="0">
                <a:solidFill>
                  <a:schemeClr val="tx1"/>
                </a:solidFill>
                <a:ea typeface="Calibri"/>
                <a:cs typeface="Calibri"/>
                <a:sym typeface="Calibri"/>
              </a:rPr>
              <a:t>(e.g. shed, garage, deck, signage)</a:t>
            </a:r>
            <a:endParaRPr sz="1400" b="0" i="0" u="none" strike="noStrike" cap="none" dirty="0">
              <a:solidFill>
                <a:schemeClr val="tx1"/>
              </a:solidFill>
              <a:ea typeface="Arial"/>
              <a:cs typeface="Arial"/>
              <a:sym typeface="Arial"/>
            </a:endParaRPr>
          </a:p>
        </p:txBody>
      </p:sp>
      <p:sp>
        <p:nvSpPr>
          <p:cNvPr id="26" name="Google Shape;284;p2">
            <a:extLst>
              <a:ext uri="{FF2B5EF4-FFF2-40B4-BE49-F238E27FC236}">
                <a16:creationId xmlns:a16="http://schemas.microsoft.com/office/drawing/2014/main" id="{6D611D00-71B4-098D-C875-C4F0FB3D18BC}"/>
              </a:ext>
            </a:extLst>
          </p:cNvPr>
          <p:cNvSpPr/>
          <p:nvPr/>
        </p:nvSpPr>
        <p:spPr>
          <a:xfrm>
            <a:off x="7608406" y="2666422"/>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sp>
        <p:nvSpPr>
          <p:cNvPr id="18" name="Google Shape;276;p2">
            <a:extLst>
              <a:ext uri="{FF2B5EF4-FFF2-40B4-BE49-F238E27FC236}">
                <a16:creationId xmlns:a16="http://schemas.microsoft.com/office/drawing/2014/main" id="{F3017E4B-D2FF-3FE4-131D-F08C7875C7F2}"/>
              </a:ext>
            </a:extLst>
          </p:cNvPr>
          <p:cNvSpPr/>
          <p:nvPr/>
        </p:nvSpPr>
        <p:spPr>
          <a:xfrm>
            <a:off x="9303943" y="2000375"/>
            <a:ext cx="2858474" cy="487686"/>
          </a:xfrm>
          <a:prstGeom prst="rect">
            <a:avLst/>
          </a:prstGeom>
          <a:solidFill>
            <a:schemeClr val="bg1">
              <a:lumMod val="95000"/>
            </a:schemeClr>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Tourism and accommodation development</a:t>
            </a:r>
            <a:endParaRPr lang="en-US" sz="1000" b="0" i="0" u="none" strike="noStrike" cap="none">
              <a:solidFill>
                <a:schemeClr val="tx1"/>
              </a:solidFill>
              <a:ea typeface="Arial"/>
              <a:cs typeface="Arial"/>
            </a:endParaRPr>
          </a:p>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Business proposal</a:t>
            </a:r>
            <a:endParaRPr sz="1000" b="0" i="0" u="none" strike="noStrike" cap="none">
              <a:solidFill>
                <a:schemeClr val="tx1"/>
              </a:solidFill>
              <a:ea typeface="Arial"/>
              <a:cs typeface="Arial"/>
            </a:endParaRPr>
          </a:p>
          <a:p>
            <a:pPr marL="171450" marR="0" lvl="0" indent="-171450" algn="l" rtl="0">
              <a:lnSpc>
                <a:spcPct val="100000"/>
              </a:lnSpc>
              <a:spcBef>
                <a:spcPts val="0"/>
              </a:spcBef>
              <a:spcAft>
                <a:spcPts val="0"/>
              </a:spcAft>
              <a:buClr>
                <a:srgbClr val="1E4E79"/>
              </a:buClr>
              <a:buSzPts val="1000"/>
              <a:buFont typeface="Arial"/>
              <a:buChar char="•"/>
            </a:pPr>
            <a:r>
              <a:rPr lang="en-AU" sz="1000" b="0" i="0" u="none" strike="noStrike" cap="none" dirty="0">
                <a:solidFill>
                  <a:schemeClr val="tx1"/>
                </a:solidFill>
                <a:ea typeface="Calibri"/>
                <a:cs typeface="Calibri"/>
                <a:sym typeface="Calibri"/>
              </a:rPr>
              <a:t>Event proposal</a:t>
            </a:r>
            <a:endParaRPr sz="1400" b="0" i="0" u="none" strike="noStrike" cap="none" dirty="0">
              <a:solidFill>
                <a:schemeClr val="tx1"/>
              </a:solidFill>
              <a:ea typeface="Arial"/>
              <a:cs typeface="Arial"/>
              <a:sym typeface="Arial"/>
            </a:endParaRPr>
          </a:p>
        </p:txBody>
      </p:sp>
      <p:sp>
        <p:nvSpPr>
          <p:cNvPr id="27" name="Google Shape;285;p2">
            <a:extLst>
              <a:ext uri="{FF2B5EF4-FFF2-40B4-BE49-F238E27FC236}">
                <a16:creationId xmlns:a16="http://schemas.microsoft.com/office/drawing/2014/main" id="{5D63ED65-99C4-66A7-1397-D76E3EB3F74A}"/>
              </a:ext>
            </a:extLst>
          </p:cNvPr>
          <p:cNvSpPr/>
          <p:nvPr/>
        </p:nvSpPr>
        <p:spPr>
          <a:xfrm>
            <a:off x="10441795" y="2666422"/>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cxnSp>
        <p:nvCxnSpPr>
          <p:cNvPr id="20" name="Google Shape;278;p2">
            <a:extLst>
              <a:ext uri="{FF2B5EF4-FFF2-40B4-BE49-F238E27FC236}">
                <a16:creationId xmlns:a16="http://schemas.microsoft.com/office/drawing/2014/main" id="{898432E6-9E10-5CFA-BA22-177687C2BBB9}"/>
              </a:ext>
              <a:ext uri="{C183D7F6-B498-43B3-948B-1728B52AA6E4}">
                <adec:decorative xmlns:adec="http://schemas.microsoft.com/office/drawing/2017/decorative" val="1"/>
              </a:ext>
            </a:extLst>
          </p:cNvPr>
          <p:cNvCxnSpPr>
            <a:cxnSpLocks/>
            <a:stCxn id="14" idx="2"/>
            <a:endCxn id="15" idx="0"/>
          </p:cNvCxnSpPr>
          <p:nvPr/>
        </p:nvCxnSpPr>
        <p:spPr>
          <a:xfrm rot="5400000">
            <a:off x="3629462" y="-479504"/>
            <a:ext cx="330740" cy="4629019"/>
          </a:xfrm>
          <a:prstGeom prst="bentConnector3">
            <a:avLst>
              <a:gd name="adj1" fmla="val 50000"/>
            </a:avLst>
          </a:prstGeom>
          <a:noFill/>
          <a:ln w="6350" cap="flat" cmpd="sng">
            <a:solidFill>
              <a:schemeClr val="accent6"/>
            </a:solidFill>
            <a:prstDash val="solid"/>
            <a:miter lim="800000"/>
            <a:headEnd type="none" w="sm" len="sm"/>
            <a:tailEnd type="triangle" w="med" len="med"/>
          </a:ln>
        </p:spPr>
      </p:cxnSp>
      <p:cxnSp>
        <p:nvCxnSpPr>
          <p:cNvPr id="21" name="Google Shape;279;p2">
            <a:extLst>
              <a:ext uri="{FF2B5EF4-FFF2-40B4-BE49-F238E27FC236}">
                <a16:creationId xmlns:a16="http://schemas.microsoft.com/office/drawing/2014/main" id="{6FFA569F-3C25-7DAC-C746-1BE195FBF105}"/>
              </a:ext>
              <a:ext uri="{C183D7F6-B498-43B3-948B-1728B52AA6E4}">
                <adec:decorative xmlns:adec="http://schemas.microsoft.com/office/drawing/2017/decorative" val="1"/>
              </a:ext>
            </a:extLst>
          </p:cNvPr>
          <p:cNvCxnSpPr>
            <a:cxnSpLocks/>
            <a:stCxn id="14" idx="2"/>
            <a:endCxn id="16" idx="0"/>
          </p:cNvCxnSpPr>
          <p:nvPr/>
        </p:nvCxnSpPr>
        <p:spPr>
          <a:xfrm rot="5400000">
            <a:off x="5389149" y="1280183"/>
            <a:ext cx="330740" cy="1109645"/>
          </a:xfrm>
          <a:prstGeom prst="bentConnector3">
            <a:avLst>
              <a:gd name="adj1" fmla="val 50000"/>
            </a:avLst>
          </a:prstGeom>
          <a:noFill/>
          <a:ln w="6350" cap="flat" cmpd="sng">
            <a:solidFill>
              <a:schemeClr val="accent6"/>
            </a:solidFill>
            <a:prstDash val="solid"/>
            <a:miter lim="800000"/>
            <a:headEnd type="none" w="sm" len="sm"/>
            <a:tailEnd type="triangle" w="med" len="med"/>
          </a:ln>
        </p:spPr>
      </p:cxnSp>
      <p:cxnSp>
        <p:nvCxnSpPr>
          <p:cNvPr id="22" name="Google Shape;280;p2">
            <a:extLst>
              <a:ext uri="{FF2B5EF4-FFF2-40B4-BE49-F238E27FC236}">
                <a16:creationId xmlns:a16="http://schemas.microsoft.com/office/drawing/2014/main" id="{B02B85E3-FA30-BF48-DAC1-ECEDE47D24F2}"/>
              </a:ext>
              <a:ext uri="{C183D7F6-B498-43B3-948B-1728B52AA6E4}">
                <adec:decorative xmlns:adec="http://schemas.microsoft.com/office/drawing/2017/decorative" val="1"/>
              </a:ext>
            </a:extLst>
          </p:cNvPr>
          <p:cNvCxnSpPr>
            <a:cxnSpLocks/>
            <a:stCxn id="14" idx="2"/>
            <a:endCxn id="17" idx="0"/>
          </p:cNvCxnSpPr>
          <p:nvPr/>
        </p:nvCxnSpPr>
        <p:spPr>
          <a:xfrm rot="16200000" flipH="1">
            <a:off x="6839196" y="939780"/>
            <a:ext cx="330740" cy="1790450"/>
          </a:xfrm>
          <a:prstGeom prst="bentConnector3">
            <a:avLst>
              <a:gd name="adj1" fmla="val 50000"/>
            </a:avLst>
          </a:prstGeom>
          <a:noFill/>
          <a:ln w="6350" cap="flat" cmpd="sng">
            <a:solidFill>
              <a:schemeClr val="accent6"/>
            </a:solidFill>
            <a:prstDash val="solid"/>
            <a:miter lim="800000"/>
            <a:headEnd type="none" w="sm" len="sm"/>
            <a:tailEnd type="triangle" w="med" len="med"/>
          </a:ln>
        </p:spPr>
      </p:cxnSp>
      <p:cxnSp>
        <p:nvCxnSpPr>
          <p:cNvPr id="23" name="Google Shape;281;p2">
            <a:extLst>
              <a:ext uri="{FF2B5EF4-FFF2-40B4-BE49-F238E27FC236}">
                <a16:creationId xmlns:a16="http://schemas.microsoft.com/office/drawing/2014/main" id="{66F5830B-BE1C-498D-AB1B-30ABB1D04280}"/>
              </a:ext>
              <a:ext uri="{C183D7F6-B498-43B3-948B-1728B52AA6E4}">
                <adec:decorative xmlns:adec="http://schemas.microsoft.com/office/drawing/2017/decorative" val="1"/>
              </a:ext>
            </a:extLst>
          </p:cNvPr>
          <p:cNvCxnSpPr>
            <a:cxnSpLocks/>
            <a:stCxn id="14" idx="2"/>
            <a:endCxn id="18" idx="0"/>
          </p:cNvCxnSpPr>
          <p:nvPr/>
        </p:nvCxnSpPr>
        <p:spPr>
          <a:xfrm rot="16200000" flipH="1">
            <a:off x="8255890" y="-476915"/>
            <a:ext cx="330740" cy="4623839"/>
          </a:xfrm>
          <a:prstGeom prst="bentConnector3">
            <a:avLst>
              <a:gd name="adj1" fmla="val 50000"/>
            </a:avLst>
          </a:prstGeom>
          <a:noFill/>
          <a:ln w="6350" cap="flat" cmpd="sng">
            <a:solidFill>
              <a:schemeClr val="accent6"/>
            </a:solidFill>
            <a:prstDash val="solid"/>
            <a:miter lim="800000"/>
            <a:headEnd type="none" w="sm" len="sm"/>
            <a:tailEnd type="triangle" w="med" len="med"/>
          </a:ln>
        </p:spPr>
      </p:cxnSp>
      <p:sp>
        <p:nvSpPr>
          <p:cNvPr id="30" name="Google Shape;288;p2">
            <a:extLst>
              <a:ext uri="{FF2B5EF4-FFF2-40B4-BE49-F238E27FC236}">
                <a16:creationId xmlns:a16="http://schemas.microsoft.com/office/drawing/2014/main" id="{B30FE132-F1DA-351A-5458-732A246773C3}"/>
              </a:ext>
            </a:extLst>
          </p:cNvPr>
          <p:cNvSpPr/>
          <p:nvPr/>
        </p:nvSpPr>
        <p:spPr>
          <a:xfrm>
            <a:off x="4106796" y="3631631"/>
            <a:ext cx="582769" cy="206634"/>
          </a:xfrm>
          <a:prstGeom prst="rect">
            <a:avLst/>
          </a:prstGeom>
          <a:solidFill>
            <a:schemeClr val="accent3"/>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Yes</a:t>
            </a:r>
            <a:endParaRPr sz="1400" b="1" i="0" u="none" strike="noStrike" cap="none" dirty="0">
              <a:solidFill>
                <a:schemeClr val="tx1"/>
              </a:solidFill>
              <a:ea typeface="Arial"/>
              <a:cs typeface="Arial"/>
              <a:sym typeface="Arial"/>
            </a:endParaRPr>
          </a:p>
        </p:txBody>
      </p:sp>
      <p:cxnSp>
        <p:nvCxnSpPr>
          <p:cNvPr id="32" name="Google Shape;290;p2">
            <a:extLst>
              <a:ext uri="{FF2B5EF4-FFF2-40B4-BE49-F238E27FC236}">
                <a16:creationId xmlns:a16="http://schemas.microsoft.com/office/drawing/2014/main" id="{8B4F1283-A7C7-AF0D-BFAF-04DF29472C93}"/>
              </a:ext>
              <a:ext uri="{C183D7F6-B498-43B3-948B-1728B52AA6E4}">
                <adec:decorative xmlns:adec="http://schemas.microsoft.com/office/drawing/2017/decorative" val="1"/>
              </a:ext>
            </a:extLst>
          </p:cNvPr>
          <p:cNvCxnSpPr>
            <a:cxnSpLocks/>
            <a:stCxn id="15" idx="2"/>
            <a:endCxn id="25" idx="0"/>
          </p:cNvCxnSpPr>
          <p:nvPr/>
        </p:nvCxnSpPr>
        <p:spPr>
          <a:xfrm flipH="1">
            <a:off x="1476982" y="2304826"/>
            <a:ext cx="3340" cy="361596"/>
          </a:xfrm>
          <a:prstGeom prst="straightConnector1">
            <a:avLst/>
          </a:prstGeom>
          <a:noFill/>
          <a:ln w="6350" cap="flat" cmpd="sng">
            <a:solidFill>
              <a:schemeClr val="tx2"/>
            </a:solidFill>
            <a:prstDash val="solid"/>
            <a:miter lim="800000"/>
            <a:headEnd type="none" w="sm" len="sm"/>
            <a:tailEnd type="triangle" w="med" len="med"/>
          </a:ln>
        </p:spPr>
      </p:cxnSp>
      <p:cxnSp>
        <p:nvCxnSpPr>
          <p:cNvPr id="33" name="Google Shape;291;p2">
            <a:extLst>
              <a:ext uri="{FF2B5EF4-FFF2-40B4-BE49-F238E27FC236}">
                <a16:creationId xmlns:a16="http://schemas.microsoft.com/office/drawing/2014/main" id="{863E74FF-FF42-55A0-33F7-9CCE6C42A270}"/>
              </a:ext>
              <a:ext uri="{C183D7F6-B498-43B3-948B-1728B52AA6E4}">
                <adec:decorative xmlns:adec="http://schemas.microsoft.com/office/drawing/2017/decorative" val="1"/>
              </a:ext>
            </a:extLst>
          </p:cNvPr>
          <p:cNvCxnSpPr>
            <a:cxnSpLocks/>
            <a:stCxn id="16" idx="2"/>
            <a:endCxn id="24" idx="0"/>
          </p:cNvCxnSpPr>
          <p:nvPr/>
        </p:nvCxnSpPr>
        <p:spPr>
          <a:xfrm>
            <a:off x="4999696" y="2484733"/>
            <a:ext cx="1" cy="181689"/>
          </a:xfrm>
          <a:prstGeom prst="straightConnector1">
            <a:avLst/>
          </a:prstGeom>
          <a:noFill/>
          <a:ln w="6350" cap="flat" cmpd="sng">
            <a:solidFill>
              <a:schemeClr val="tx2"/>
            </a:solidFill>
            <a:prstDash val="solid"/>
            <a:miter lim="800000"/>
            <a:headEnd type="none" w="sm" len="sm"/>
            <a:tailEnd type="triangle" w="med" len="med"/>
          </a:ln>
        </p:spPr>
      </p:cxnSp>
      <p:cxnSp>
        <p:nvCxnSpPr>
          <p:cNvPr id="34" name="Google Shape;293;p2">
            <a:extLst>
              <a:ext uri="{FF2B5EF4-FFF2-40B4-BE49-F238E27FC236}">
                <a16:creationId xmlns:a16="http://schemas.microsoft.com/office/drawing/2014/main" id="{324980A1-F557-95C2-5C81-95A5DED70138}"/>
              </a:ext>
              <a:ext uri="{C183D7F6-B498-43B3-948B-1728B52AA6E4}">
                <adec:decorative xmlns:adec="http://schemas.microsoft.com/office/drawing/2017/decorative" val="1"/>
              </a:ext>
            </a:extLst>
          </p:cNvPr>
          <p:cNvCxnSpPr>
            <a:cxnSpLocks/>
            <a:stCxn id="18" idx="2"/>
            <a:endCxn id="27" idx="0"/>
          </p:cNvCxnSpPr>
          <p:nvPr/>
        </p:nvCxnSpPr>
        <p:spPr>
          <a:xfrm>
            <a:off x="10733180" y="2488061"/>
            <a:ext cx="0" cy="178361"/>
          </a:xfrm>
          <a:prstGeom prst="straightConnector1">
            <a:avLst/>
          </a:prstGeom>
          <a:noFill/>
          <a:ln w="6350" cap="flat" cmpd="sng">
            <a:solidFill>
              <a:schemeClr val="tx2"/>
            </a:solidFill>
            <a:prstDash val="solid"/>
            <a:miter lim="800000"/>
            <a:headEnd type="none" w="sm" len="sm"/>
            <a:tailEnd type="triangle" w="med" len="med"/>
          </a:ln>
        </p:spPr>
      </p:cxnSp>
      <p:sp>
        <p:nvSpPr>
          <p:cNvPr id="35" name="Google Shape;294;p2">
            <a:extLst>
              <a:ext uri="{FF2B5EF4-FFF2-40B4-BE49-F238E27FC236}">
                <a16:creationId xmlns:a16="http://schemas.microsoft.com/office/drawing/2014/main" id="{7B5D1158-9DF9-AED3-21D9-603406A63DA6}"/>
              </a:ext>
            </a:extLst>
          </p:cNvPr>
          <p:cNvSpPr/>
          <p:nvPr/>
        </p:nvSpPr>
        <p:spPr>
          <a:xfrm>
            <a:off x="9788091" y="6371795"/>
            <a:ext cx="1890099" cy="426643"/>
          </a:xfrm>
          <a:prstGeom prst="rect">
            <a:avLst/>
          </a:prstGeom>
          <a:solidFill>
            <a:schemeClr val="accent6"/>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bg1"/>
                </a:solidFill>
                <a:ea typeface="Calibri"/>
                <a:cs typeface="Calibri"/>
                <a:sym typeface="Calibri"/>
              </a:rPr>
              <a:t>Lodge a Business Concierge meeting request</a:t>
            </a:r>
            <a:endParaRPr lang="en-US" sz="1400" b="0" i="0" u="none" strike="noStrike" cap="none" dirty="0">
              <a:solidFill>
                <a:schemeClr val="bg1"/>
              </a:solidFill>
              <a:ea typeface="Arial"/>
              <a:cs typeface="Arial"/>
            </a:endParaRPr>
          </a:p>
        </p:txBody>
      </p:sp>
      <p:cxnSp>
        <p:nvCxnSpPr>
          <p:cNvPr id="36" name="Google Shape;295;p2">
            <a:extLst>
              <a:ext uri="{FF2B5EF4-FFF2-40B4-BE49-F238E27FC236}">
                <a16:creationId xmlns:a16="http://schemas.microsoft.com/office/drawing/2014/main" id="{1FDD199D-B8D1-F224-E927-3B8BE0FB2F53}"/>
              </a:ext>
              <a:ext uri="{C183D7F6-B498-43B3-948B-1728B52AA6E4}">
                <adec:decorative xmlns:adec="http://schemas.microsoft.com/office/drawing/2017/decorative" val="1"/>
              </a:ext>
            </a:extLst>
          </p:cNvPr>
          <p:cNvCxnSpPr>
            <a:cxnSpLocks/>
            <a:stCxn id="27" idx="2"/>
            <a:endCxn id="35" idx="0"/>
          </p:cNvCxnSpPr>
          <p:nvPr/>
        </p:nvCxnSpPr>
        <p:spPr>
          <a:xfrm flipH="1">
            <a:off x="10733141" y="2873056"/>
            <a:ext cx="39" cy="3498739"/>
          </a:xfrm>
          <a:prstGeom prst="straightConnector1">
            <a:avLst/>
          </a:prstGeom>
          <a:noFill/>
          <a:ln w="6350" cap="flat" cmpd="sng">
            <a:solidFill>
              <a:schemeClr val="tx2"/>
            </a:solidFill>
            <a:prstDash val="solid"/>
            <a:miter lim="800000"/>
            <a:headEnd type="none" w="sm" len="sm"/>
            <a:tailEnd type="triangle" w="med" len="med"/>
          </a:ln>
        </p:spPr>
      </p:cxnSp>
      <p:cxnSp>
        <p:nvCxnSpPr>
          <p:cNvPr id="38" name="Google Shape;297;p2">
            <a:extLst>
              <a:ext uri="{FF2B5EF4-FFF2-40B4-BE49-F238E27FC236}">
                <a16:creationId xmlns:a16="http://schemas.microsoft.com/office/drawing/2014/main" id="{6BA133CD-CD25-74A1-6E3A-5A208A0DEF2B}"/>
              </a:ext>
              <a:ext uri="{C183D7F6-B498-43B3-948B-1728B52AA6E4}">
                <adec:decorative xmlns:adec="http://schemas.microsoft.com/office/drawing/2017/decorative" val="1"/>
              </a:ext>
            </a:extLst>
          </p:cNvPr>
          <p:cNvCxnSpPr>
            <a:cxnSpLocks/>
            <a:stCxn id="25" idx="2"/>
            <a:endCxn id="19" idx="0"/>
          </p:cNvCxnSpPr>
          <p:nvPr/>
        </p:nvCxnSpPr>
        <p:spPr>
          <a:xfrm>
            <a:off x="1476982" y="2873056"/>
            <a:ext cx="1" cy="209525"/>
          </a:xfrm>
          <a:prstGeom prst="straightConnector1">
            <a:avLst/>
          </a:prstGeom>
          <a:noFill/>
          <a:ln w="6350" cap="flat" cmpd="sng">
            <a:solidFill>
              <a:schemeClr val="tx2"/>
            </a:solidFill>
            <a:prstDash val="solid"/>
            <a:miter lim="800000"/>
            <a:headEnd type="none" w="sm" len="sm"/>
            <a:tailEnd type="triangle" w="med" len="med"/>
          </a:ln>
        </p:spPr>
      </p:cxnSp>
      <p:cxnSp>
        <p:nvCxnSpPr>
          <p:cNvPr id="39" name="Google Shape;298;p2">
            <a:extLst>
              <a:ext uri="{FF2B5EF4-FFF2-40B4-BE49-F238E27FC236}">
                <a16:creationId xmlns:a16="http://schemas.microsoft.com/office/drawing/2014/main" id="{ACE30AAA-4329-2BFC-B673-50ECC5DFECB4}"/>
              </a:ext>
              <a:ext uri="{C183D7F6-B498-43B3-948B-1728B52AA6E4}">
                <adec:decorative xmlns:adec="http://schemas.microsoft.com/office/drawing/2017/decorative" val="1"/>
              </a:ext>
            </a:extLst>
          </p:cNvPr>
          <p:cNvCxnSpPr>
            <a:cxnSpLocks/>
            <a:stCxn id="24" idx="2"/>
            <a:endCxn id="37" idx="0"/>
          </p:cNvCxnSpPr>
          <p:nvPr/>
        </p:nvCxnSpPr>
        <p:spPr>
          <a:xfrm>
            <a:off x="4999697" y="2873056"/>
            <a:ext cx="0" cy="222618"/>
          </a:xfrm>
          <a:prstGeom prst="straightConnector1">
            <a:avLst/>
          </a:prstGeom>
          <a:noFill/>
          <a:ln w="6350" cap="flat" cmpd="sng">
            <a:solidFill>
              <a:schemeClr val="tx2"/>
            </a:solidFill>
            <a:prstDash val="solid"/>
            <a:miter lim="800000"/>
            <a:headEnd type="none" w="sm" len="sm"/>
            <a:tailEnd type="triangle" w="med" len="med"/>
          </a:ln>
        </p:spPr>
      </p:cxnSp>
      <p:cxnSp>
        <p:nvCxnSpPr>
          <p:cNvPr id="40" name="Google Shape;299;p2">
            <a:extLst>
              <a:ext uri="{FF2B5EF4-FFF2-40B4-BE49-F238E27FC236}">
                <a16:creationId xmlns:a16="http://schemas.microsoft.com/office/drawing/2014/main" id="{3108CF67-6FBF-608B-D7B1-271238E8F162}"/>
              </a:ext>
              <a:ext uri="{C183D7F6-B498-43B3-948B-1728B52AA6E4}">
                <adec:decorative xmlns:adec="http://schemas.microsoft.com/office/drawing/2017/decorative" val="1"/>
              </a:ext>
            </a:extLst>
          </p:cNvPr>
          <p:cNvCxnSpPr>
            <a:cxnSpLocks/>
            <a:stCxn id="37" idx="2"/>
            <a:endCxn id="30" idx="0"/>
          </p:cNvCxnSpPr>
          <p:nvPr/>
        </p:nvCxnSpPr>
        <p:spPr>
          <a:xfrm rot="5400000">
            <a:off x="4534279" y="3166212"/>
            <a:ext cx="329321" cy="601516"/>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41" name="Google Shape;300;p2">
            <a:extLst>
              <a:ext uri="{FF2B5EF4-FFF2-40B4-BE49-F238E27FC236}">
                <a16:creationId xmlns:a16="http://schemas.microsoft.com/office/drawing/2014/main" id="{FA9215B0-9CB3-E5CE-50E3-1770B89AEFA4}"/>
              </a:ext>
              <a:ext uri="{C183D7F6-B498-43B3-948B-1728B52AA6E4}">
                <adec:decorative xmlns:adec="http://schemas.microsoft.com/office/drawing/2017/decorative" val="1"/>
              </a:ext>
            </a:extLst>
          </p:cNvPr>
          <p:cNvCxnSpPr>
            <a:cxnSpLocks/>
            <a:stCxn id="37" idx="2"/>
            <a:endCxn id="31" idx="0"/>
          </p:cNvCxnSpPr>
          <p:nvPr/>
        </p:nvCxnSpPr>
        <p:spPr>
          <a:xfrm rot="16200000" flipH="1">
            <a:off x="5170885" y="3131121"/>
            <a:ext cx="329321" cy="671697"/>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42" name="Google Shape;301;p2">
            <a:extLst>
              <a:ext uri="{FF2B5EF4-FFF2-40B4-BE49-F238E27FC236}">
                <a16:creationId xmlns:a16="http://schemas.microsoft.com/office/drawing/2014/main" id="{7A0F6174-6EC4-679A-A24F-B5F9CCAA4D82}"/>
              </a:ext>
              <a:ext uri="{C183D7F6-B498-43B3-948B-1728B52AA6E4}">
                <adec:decorative xmlns:adec="http://schemas.microsoft.com/office/drawing/2017/decorative" val="1"/>
              </a:ext>
            </a:extLst>
          </p:cNvPr>
          <p:cNvCxnSpPr>
            <a:cxnSpLocks/>
            <a:stCxn id="19" idx="2"/>
            <a:endCxn id="29" idx="0"/>
          </p:cNvCxnSpPr>
          <p:nvPr/>
        </p:nvCxnSpPr>
        <p:spPr>
          <a:xfrm rot="5400000">
            <a:off x="983492" y="3307906"/>
            <a:ext cx="394405" cy="592579"/>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43" name="Google Shape;302;p2">
            <a:extLst>
              <a:ext uri="{FF2B5EF4-FFF2-40B4-BE49-F238E27FC236}">
                <a16:creationId xmlns:a16="http://schemas.microsoft.com/office/drawing/2014/main" id="{C0B27CD3-DBA9-9A4B-76B9-00FC80C7C911}"/>
              </a:ext>
              <a:ext uri="{C183D7F6-B498-43B3-948B-1728B52AA6E4}">
                <adec:decorative xmlns:adec="http://schemas.microsoft.com/office/drawing/2017/decorative" val="1"/>
              </a:ext>
            </a:extLst>
          </p:cNvPr>
          <p:cNvCxnSpPr>
            <a:cxnSpLocks/>
            <a:stCxn id="19" idx="2"/>
            <a:endCxn id="28" idx="0"/>
          </p:cNvCxnSpPr>
          <p:nvPr/>
        </p:nvCxnSpPr>
        <p:spPr>
          <a:xfrm rot="16200000" flipH="1">
            <a:off x="1565241" y="3318735"/>
            <a:ext cx="394404" cy="570920"/>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44" name="Google Shape;303;p2">
            <a:extLst>
              <a:ext uri="{FF2B5EF4-FFF2-40B4-BE49-F238E27FC236}">
                <a16:creationId xmlns:a16="http://schemas.microsoft.com/office/drawing/2014/main" id="{AFE9A299-AB6F-565B-831B-F5FB74157907}"/>
              </a:ext>
              <a:ext uri="{C183D7F6-B498-43B3-948B-1728B52AA6E4}">
                <adec:decorative xmlns:adec="http://schemas.microsoft.com/office/drawing/2017/decorative" val="1"/>
              </a:ext>
            </a:extLst>
          </p:cNvPr>
          <p:cNvCxnSpPr>
            <a:cxnSpLocks/>
            <a:stCxn id="30" idx="1"/>
            <a:endCxn id="19" idx="3"/>
          </p:cNvCxnSpPr>
          <p:nvPr/>
        </p:nvCxnSpPr>
        <p:spPr>
          <a:xfrm rot="10800000">
            <a:off x="2650942" y="3244788"/>
            <a:ext cx="1455854" cy="490161"/>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54" name="Google Shape;313;p2">
            <a:extLst>
              <a:ext uri="{FF2B5EF4-FFF2-40B4-BE49-F238E27FC236}">
                <a16:creationId xmlns:a16="http://schemas.microsoft.com/office/drawing/2014/main" id="{0C75B27C-117A-8D84-6CBA-BCF1B77CB939}"/>
              </a:ext>
              <a:ext uri="{C183D7F6-B498-43B3-948B-1728B52AA6E4}">
                <adec:decorative xmlns:adec="http://schemas.microsoft.com/office/drawing/2017/decorative" val="1"/>
              </a:ext>
            </a:extLst>
          </p:cNvPr>
          <p:cNvCxnSpPr>
            <a:cxnSpLocks/>
            <a:stCxn id="45" idx="2"/>
            <a:endCxn id="52" idx="0"/>
          </p:cNvCxnSpPr>
          <p:nvPr/>
        </p:nvCxnSpPr>
        <p:spPr>
          <a:xfrm rot="5400000">
            <a:off x="4561304" y="4165694"/>
            <a:ext cx="275271" cy="601515"/>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55" name="Google Shape;314;p2">
            <a:extLst>
              <a:ext uri="{FF2B5EF4-FFF2-40B4-BE49-F238E27FC236}">
                <a16:creationId xmlns:a16="http://schemas.microsoft.com/office/drawing/2014/main" id="{F9D915BA-BF72-A9E7-6E4A-7434F3BFFFCF}"/>
              </a:ext>
              <a:ext uri="{C183D7F6-B498-43B3-948B-1728B52AA6E4}">
                <adec:decorative xmlns:adec="http://schemas.microsoft.com/office/drawing/2017/decorative" val="1"/>
              </a:ext>
            </a:extLst>
          </p:cNvPr>
          <p:cNvCxnSpPr>
            <a:cxnSpLocks/>
            <a:stCxn id="45" idx="2"/>
            <a:endCxn id="53" idx="0"/>
          </p:cNvCxnSpPr>
          <p:nvPr/>
        </p:nvCxnSpPr>
        <p:spPr>
          <a:xfrm rot="16200000" flipH="1">
            <a:off x="5197910" y="4130602"/>
            <a:ext cx="275271" cy="671698"/>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58" name="Google Shape;317;p2">
            <a:extLst>
              <a:ext uri="{FF2B5EF4-FFF2-40B4-BE49-F238E27FC236}">
                <a16:creationId xmlns:a16="http://schemas.microsoft.com/office/drawing/2014/main" id="{ABE913E7-71AC-9782-467E-641B6269B084}"/>
              </a:ext>
              <a:ext uri="{C183D7F6-B498-43B3-948B-1728B52AA6E4}">
                <adec:decorative xmlns:adec="http://schemas.microsoft.com/office/drawing/2017/decorative" val="1"/>
              </a:ext>
            </a:extLst>
          </p:cNvPr>
          <p:cNvCxnSpPr>
            <a:cxnSpLocks/>
            <a:stCxn id="46" idx="2"/>
            <a:endCxn id="57" idx="0"/>
          </p:cNvCxnSpPr>
          <p:nvPr/>
        </p:nvCxnSpPr>
        <p:spPr>
          <a:xfrm rot="16200000" flipH="1">
            <a:off x="1630979" y="4403568"/>
            <a:ext cx="324179" cy="614852"/>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59" name="Google Shape;318;p2">
            <a:extLst>
              <a:ext uri="{FF2B5EF4-FFF2-40B4-BE49-F238E27FC236}">
                <a16:creationId xmlns:a16="http://schemas.microsoft.com/office/drawing/2014/main" id="{C1EF253B-20B7-7B2A-8F57-F16EB84DE19D}"/>
              </a:ext>
              <a:ext uri="{C183D7F6-B498-43B3-948B-1728B52AA6E4}">
                <adec:decorative xmlns:adec="http://schemas.microsoft.com/office/drawing/2017/decorative" val="1"/>
              </a:ext>
            </a:extLst>
          </p:cNvPr>
          <p:cNvCxnSpPr>
            <a:cxnSpLocks/>
            <a:stCxn id="46" idx="2"/>
            <a:endCxn id="56" idx="0"/>
          </p:cNvCxnSpPr>
          <p:nvPr/>
        </p:nvCxnSpPr>
        <p:spPr>
          <a:xfrm rot="5400000">
            <a:off x="994373" y="4381814"/>
            <a:ext cx="324179" cy="658360"/>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60" name="Google Shape;319;p2">
            <a:extLst>
              <a:ext uri="{FF2B5EF4-FFF2-40B4-BE49-F238E27FC236}">
                <a16:creationId xmlns:a16="http://schemas.microsoft.com/office/drawing/2014/main" id="{D311A7FD-9BD7-27E2-1F27-99267A5E4D1F}"/>
              </a:ext>
              <a:ext uri="{C183D7F6-B498-43B3-948B-1728B52AA6E4}">
                <adec:decorative xmlns:adec="http://schemas.microsoft.com/office/drawing/2017/decorative" val="1"/>
              </a:ext>
            </a:extLst>
          </p:cNvPr>
          <p:cNvCxnSpPr>
            <a:cxnSpLocks/>
            <a:stCxn id="26" idx="2"/>
            <a:endCxn id="37" idx="3"/>
          </p:cNvCxnSpPr>
          <p:nvPr/>
        </p:nvCxnSpPr>
        <p:spPr>
          <a:xfrm rot="5400000">
            <a:off x="6883155" y="2182356"/>
            <a:ext cx="325936" cy="1707337"/>
          </a:xfrm>
          <a:prstGeom prst="bentConnector2">
            <a:avLst/>
          </a:prstGeom>
          <a:noFill/>
          <a:ln w="6350" cap="flat" cmpd="sng">
            <a:solidFill>
              <a:schemeClr val="tx2"/>
            </a:solidFill>
            <a:prstDash val="solid"/>
            <a:miter lim="800000"/>
            <a:headEnd type="none" w="sm" len="sm"/>
            <a:tailEnd type="triangle" w="med" len="med"/>
          </a:ln>
        </p:spPr>
      </p:cxnSp>
      <p:sp>
        <p:nvSpPr>
          <p:cNvPr id="62" name="Google Shape;321;p2">
            <a:extLst>
              <a:ext uri="{FF2B5EF4-FFF2-40B4-BE49-F238E27FC236}">
                <a16:creationId xmlns:a16="http://schemas.microsoft.com/office/drawing/2014/main" id="{227D56EF-44FB-DE6D-B6F2-D0D97654600A}"/>
              </a:ext>
              <a:ext uri="{C183D7F6-B498-43B3-948B-1728B52AA6E4}">
                <adec:decorative xmlns:adec="http://schemas.microsoft.com/office/drawing/2017/decorative" val="1"/>
              </a:ext>
            </a:extLst>
          </p:cNvPr>
          <p:cNvSpPr/>
          <p:nvPr/>
        </p:nvSpPr>
        <p:spPr>
          <a:xfrm>
            <a:off x="1800278" y="5998069"/>
            <a:ext cx="582769" cy="206634"/>
          </a:xfrm>
          <a:prstGeom prst="rect">
            <a:avLst/>
          </a:prstGeom>
          <a:solidFill>
            <a:schemeClr val="accent2"/>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AU" sz="1000" b="1" i="0" u="none" strike="noStrike" cap="none" dirty="0">
                <a:solidFill>
                  <a:schemeClr val="tx1"/>
                </a:solidFill>
                <a:ea typeface="Calibri"/>
                <a:cs typeface="Calibri"/>
                <a:sym typeface="Calibri"/>
              </a:rPr>
              <a:t>No</a:t>
            </a:r>
            <a:endParaRPr sz="1400" b="1" i="0" u="none" strike="noStrike" cap="none" dirty="0">
              <a:solidFill>
                <a:schemeClr val="tx1"/>
              </a:solidFill>
              <a:ea typeface="Arial"/>
              <a:cs typeface="Arial"/>
              <a:sym typeface="Arial"/>
            </a:endParaRPr>
          </a:p>
        </p:txBody>
      </p:sp>
      <p:cxnSp>
        <p:nvCxnSpPr>
          <p:cNvPr id="63" name="Google Shape;322;p2">
            <a:extLst>
              <a:ext uri="{FF2B5EF4-FFF2-40B4-BE49-F238E27FC236}">
                <a16:creationId xmlns:a16="http://schemas.microsoft.com/office/drawing/2014/main" id="{55B37097-6286-DC61-A49F-4E57AF786954}"/>
              </a:ext>
              <a:ext uri="{C183D7F6-B498-43B3-948B-1728B52AA6E4}">
                <adec:decorative xmlns:adec="http://schemas.microsoft.com/office/drawing/2017/decorative" val="1"/>
              </a:ext>
            </a:extLst>
          </p:cNvPr>
          <p:cNvCxnSpPr>
            <a:cxnSpLocks/>
            <a:stCxn id="29" idx="2"/>
            <a:endCxn id="46" idx="0"/>
          </p:cNvCxnSpPr>
          <p:nvPr/>
        </p:nvCxnSpPr>
        <p:spPr>
          <a:xfrm rot="16200000" flipH="1">
            <a:off x="1032658" y="3859702"/>
            <a:ext cx="304731" cy="601238"/>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64" name="Google Shape;323;p2">
            <a:extLst>
              <a:ext uri="{FF2B5EF4-FFF2-40B4-BE49-F238E27FC236}">
                <a16:creationId xmlns:a16="http://schemas.microsoft.com/office/drawing/2014/main" id="{451001F8-87D4-F018-DECE-A8826B165327}"/>
              </a:ext>
              <a:ext uri="{C183D7F6-B498-43B3-948B-1728B52AA6E4}">
                <adec:decorative xmlns:adec="http://schemas.microsoft.com/office/drawing/2017/decorative" val="1"/>
              </a:ext>
            </a:extLst>
          </p:cNvPr>
          <p:cNvCxnSpPr>
            <a:cxnSpLocks/>
            <a:stCxn id="28" idx="2"/>
            <a:endCxn id="46" idx="0"/>
          </p:cNvCxnSpPr>
          <p:nvPr/>
        </p:nvCxnSpPr>
        <p:spPr>
          <a:xfrm rot="5400000">
            <a:off x="1614445" y="3879229"/>
            <a:ext cx="304656" cy="562261"/>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65" name="Google Shape;324;p2">
            <a:extLst>
              <a:ext uri="{FF2B5EF4-FFF2-40B4-BE49-F238E27FC236}">
                <a16:creationId xmlns:a16="http://schemas.microsoft.com/office/drawing/2014/main" id="{9A97A0B6-3530-B557-906D-06074C2BDE6F}"/>
              </a:ext>
              <a:ext uri="{C183D7F6-B498-43B3-948B-1728B52AA6E4}">
                <adec:decorative xmlns:adec="http://schemas.microsoft.com/office/drawing/2017/decorative" val="1"/>
              </a:ext>
            </a:extLst>
          </p:cNvPr>
          <p:cNvCxnSpPr>
            <a:cxnSpLocks/>
            <a:stCxn id="31" idx="3"/>
            <a:endCxn id="50" idx="0"/>
          </p:cNvCxnSpPr>
          <p:nvPr/>
        </p:nvCxnSpPr>
        <p:spPr>
          <a:xfrm>
            <a:off x="5962778" y="3734948"/>
            <a:ext cx="1935137" cy="1548579"/>
          </a:xfrm>
          <a:prstGeom prst="bentConnector2">
            <a:avLst/>
          </a:prstGeom>
          <a:noFill/>
          <a:ln w="6350" cap="flat" cmpd="sng">
            <a:solidFill>
              <a:schemeClr val="accent2"/>
            </a:solidFill>
            <a:prstDash val="solid"/>
            <a:miter lim="800000"/>
            <a:headEnd type="none" w="sm" len="sm"/>
            <a:tailEnd type="triangle" w="med" len="med"/>
          </a:ln>
        </p:spPr>
      </p:cxnSp>
      <p:cxnSp>
        <p:nvCxnSpPr>
          <p:cNvPr id="66" name="Google Shape;325;p2">
            <a:extLst>
              <a:ext uri="{FF2B5EF4-FFF2-40B4-BE49-F238E27FC236}">
                <a16:creationId xmlns:a16="http://schemas.microsoft.com/office/drawing/2014/main" id="{06543B55-C5A2-232D-E44C-CD8A506927AE}"/>
              </a:ext>
              <a:ext uri="{C183D7F6-B498-43B3-948B-1728B52AA6E4}">
                <adec:decorative xmlns:adec="http://schemas.microsoft.com/office/drawing/2017/decorative" val="1"/>
              </a:ext>
            </a:extLst>
          </p:cNvPr>
          <p:cNvCxnSpPr>
            <a:cxnSpLocks/>
            <a:stCxn id="50" idx="2"/>
            <a:endCxn id="51" idx="0"/>
          </p:cNvCxnSpPr>
          <p:nvPr/>
        </p:nvCxnSpPr>
        <p:spPr>
          <a:xfrm>
            <a:off x="7897915" y="5501697"/>
            <a:ext cx="0" cy="869999"/>
          </a:xfrm>
          <a:prstGeom prst="straightConnector1">
            <a:avLst/>
          </a:prstGeom>
          <a:noFill/>
          <a:ln w="6350" cap="flat" cmpd="sng">
            <a:solidFill>
              <a:schemeClr val="accent2"/>
            </a:solidFill>
            <a:prstDash val="solid"/>
            <a:miter lim="800000"/>
            <a:headEnd type="none" w="sm" len="sm"/>
            <a:tailEnd type="triangle" w="med" len="med"/>
          </a:ln>
        </p:spPr>
      </p:cxnSp>
      <p:cxnSp>
        <p:nvCxnSpPr>
          <p:cNvPr id="67" name="Google Shape;326;p2">
            <a:extLst>
              <a:ext uri="{FF2B5EF4-FFF2-40B4-BE49-F238E27FC236}">
                <a16:creationId xmlns:a16="http://schemas.microsoft.com/office/drawing/2014/main" id="{502FCE9C-1A64-5FD1-ED3B-2DDFAEC62B1B}"/>
              </a:ext>
              <a:ext uri="{C183D7F6-B498-43B3-948B-1728B52AA6E4}">
                <adec:decorative xmlns:adec="http://schemas.microsoft.com/office/drawing/2017/decorative" val="1"/>
              </a:ext>
            </a:extLst>
          </p:cNvPr>
          <p:cNvCxnSpPr>
            <a:cxnSpLocks/>
            <a:stCxn id="47" idx="2"/>
            <a:endCxn id="61" idx="0"/>
          </p:cNvCxnSpPr>
          <p:nvPr/>
        </p:nvCxnSpPr>
        <p:spPr>
          <a:xfrm rot="5400000">
            <a:off x="1015445" y="5493676"/>
            <a:ext cx="307399" cy="701387"/>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68" name="Google Shape;327;p2">
            <a:extLst>
              <a:ext uri="{FF2B5EF4-FFF2-40B4-BE49-F238E27FC236}">
                <a16:creationId xmlns:a16="http://schemas.microsoft.com/office/drawing/2014/main" id="{22B33BC5-DFFD-0ED6-1FB3-4364D5EBD45D}"/>
              </a:ext>
              <a:ext uri="{C183D7F6-B498-43B3-948B-1728B52AA6E4}">
                <adec:decorative xmlns:adec="http://schemas.microsoft.com/office/drawing/2017/decorative" val="1"/>
              </a:ext>
            </a:extLst>
          </p:cNvPr>
          <p:cNvCxnSpPr>
            <a:cxnSpLocks/>
            <a:stCxn id="47" idx="2"/>
            <a:endCxn id="62" idx="0"/>
          </p:cNvCxnSpPr>
          <p:nvPr/>
        </p:nvCxnSpPr>
        <p:spPr>
          <a:xfrm rot="16200000" flipH="1">
            <a:off x="1652051" y="5558456"/>
            <a:ext cx="307399" cy="571826"/>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69" name="Google Shape;328;p2">
            <a:extLst>
              <a:ext uri="{FF2B5EF4-FFF2-40B4-BE49-F238E27FC236}">
                <a16:creationId xmlns:a16="http://schemas.microsoft.com/office/drawing/2014/main" id="{0206BD01-EB50-6204-212C-C52F446CBC02}"/>
              </a:ext>
              <a:ext uri="{C183D7F6-B498-43B3-948B-1728B52AA6E4}">
                <adec:decorative xmlns:adec="http://schemas.microsoft.com/office/drawing/2017/decorative" val="1"/>
              </a:ext>
            </a:extLst>
          </p:cNvPr>
          <p:cNvCxnSpPr>
            <a:cxnSpLocks/>
            <a:stCxn id="52" idx="1"/>
            <a:endCxn id="46" idx="3"/>
          </p:cNvCxnSpPr>
          <p:nvPr/>
        </p:nvCxnSpPr>
        <p:spPr>
          <a:xfrm rot="10800000">
            <a:off x="2650942" y="4430796"/>
            <a:ext cx="1455854" cy="276608"/>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70" name="Google Shape;329;p2">
            <a:extLst>
              <a:ext uri="{FF2B5EF4-FFF2-40B4-BE49-F238E27FC236}">
                <a16:creationId xmlns:a16="http://schemas.microsoft.com/office/drawing/2014/main" id="{30E0A81D-AB21-71CF-2782-9E96183E6E0D}"/>
              </a:ext>
              <a:ext uri="{C183D7F6-B498-43B3-948B-1728B52AA6E4}">
                <adec:decorative xmlns:adec="http://schemas.microsoft.com/office/drawing/2017/decorative" val="1"/>
              </a:ext>
            </a:extLst>
          </p:cNvPr>
          <p:cNvCxnSpPr>
            <a:cxnSpLocks/>
            <a:stCxn id="57" idx="3"/>
            <a:endCxn id="50" idx="1"/>
          </p:cNvCxnSpPr>
          <p:nvPr/>
        </p:nvCxnSpPr>
        <p:spPr>
          <a:xfrm>
            <a:off x="2391878" y="4976401"/>
            <a:ext cx="4966246" cy="416211"/>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71" name="Google Shape;330;p2">
            <a:extLst>
              <a:ext uri="{FF2B5EF4-FFF2-40B4-BE49-F238E27FC236}">
                <a16:creationId xmlns:a16="http://schemas.microsoft.com/office/drawing/2014/main" id="{DC9CB90E-DCE3-D340-46B0-EA6F2C73A5BB}"/>
              </a:ext>
              <a:ext uri="{C183D7F6-B498-43B3-948B-1728B52AA6E4}">
                <adec:decorative xmlns:adec="http://schemas.microsoft.com/office/drawing/2017/decorative" val="1"/>
              </a:ext>
            </a:extLst>
          </p:cNvPr>
          <p:cNvCxnSpPr>
            <a:cxnSpLocks/>
            <a:stCxn id="53" idx="2"/>
            <a:endCxn id="49" idx="0"/>
          </p:cNvCxnSpPr>
          <p:nvPr/>
        </p:nvCxnSpPr>
        <p:spPr>
          <a:xfrm rot="5400000">
            <a:off x="4429716" y="5128533"/>
            <a:ext cx="1559490" cy="923866"/>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72" name="Google Shape;331;p2">
            <a:extLst>
              <a:ext uri="{FF2B5EF4-FFF2-40B4-BE49-F238E27FC236}">
                <a16:creationId xmlns:a16="http://schemas.microsoft.com/office/drawing/2014/main" id="{0F1B31EE-3A1A-508D-F309-9F0AF31ED4C9}"/>
              </a:ext>
              <a:ext uri="{C183D7F6-B498-43B3-948B-1728B52AA6E4}">
                <adec:decorative xmlns:adec="http://schemas.microsoft.com/office/drawing/2017/decorative" val="1"/>
              </a:ext>
            </a:extLst>
          </p:cNvPr>
          <p:cNvCxnSpPr>
            <a:cxnSpLocks/>
            <a:stCxn id="56" idx="2"/>
            <a:endCxn id="47" idx="0"/>
          </p:cNvCxnSpPr>
          <p:nvPr/>
        </p:nvCxnSpPr>
        <p:spPr>
          <a:xfrm rot="16200000" flipH="1">
            <a:off x="1019104" y="4887895"/>
            <a:ext cx="308910" cy="692555"/>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73" name="Google Shape;332;p2">
            <a:extLst>
              <a:ext uri="{FF2B5EF4-FFF2-40B4-BE49-F238E27FC236}">
                <a16:creationId xmlns:a16="http://schemas.microsoft.com/office/drawing/2014/main" id="{155CC5F8-17BF-A4EE-B352-84E85FD0560F}"/>
              </a:ext>
              <a:ext uri="{C183D7F6-B498-43B3-948B-1728B52AA6E4}">
                <adec:decorative xmlns:adec="http://schemas.microsoft.com/office/drawing/2017/decorative" val="1"/>
              </a:ext>
            </a:extLst>
          </p:cNvPr>
          <p:cNvCxnSpPr>
            <a:cxnSpLocks/>
            <a:stCxn id="62" idx="3"/>
            <a:endCxn id="49" idx="1"/>
          </p:cNvCxnSpPr>
          <p:nvPr/>
        </p:nvCxnSpPr>
        <p:spPr>
          <a:xfrm>
            <a:off x="2383047" y="6101386"/>
            <a:ext cx="1410725" cy="482171"/>
          </a:xfrm>
          <a:prstGeom prst="bentConnector3">
            <a:avLst>
              <a:gd name="adj1" fmla="val 50000"/>
            </a:avLst>
          </a:prstGeom>
          <a:noFill/>
          <a:ln w="6350" cap="flat" cmpd="sng">
            <a:solidFill>
              <a:schemeClr val="accent2"/>
            </a:solidFill>
            <a:prstDash val="solid"/>
            <a:miter lim="800000"/>
            <a:headEnd type="none" w="sm" len="sm"/>
            <a:tailEnd type="triangle" w="med" len="med"/>
          </a:ln>
        </p:spPr>
      </p:cxnSp>
      <p:cxnSp>
        <p:nvCxnSpPr>
          <p:cNvPr id="74" name="Google Shape;333;p2">
            <a:extLst>
              <a:ext uri="{FF2B5EF4-FFF2-40B4-BE49-F238E27FC236}">
                <a16:creationId xmlns:a16="http://schemas.microsoft.com/office/drawing/2014/main" id="{FE078F0A-A74A-E0CA-ADAD-3D95380900BC}"/>
              </a:ext>
              <a:ext uri="{C183D7F6-B498-43B3-948B-1728B52AA6E4}">
                <adec:decorative xmlns:adec="http://schemas.microsoft.com/office/drawing/2017/decorative" val="1"/>
              </a:ext>
            </a:extLst>
          </p:cNvPr>
          <p:cNvCxnSpPr>
            <a:cxnSpLocks/>
            <a:stCxn id="61" idx="2"/>
            <a:endCxn id="48" idx="0"/>
          </p:cNvCxnSpPr>
          <p:nvPr/>
        </p:nvCxnSpPr>
        <p:spPr>
          <a:xfrm rot="16200000" flipH="1">
            <a:off x="1047802" y="5975351"/>
            <a:ext cx="242645" cy="701348"/>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75" name="Google Shape;335;p2">
            <a:extLst>
              <a:ext uri="{FF2B5EF4-FFF2-40B4-BE49-F238E27FC236}">
                <a16:creationId xmlns:a16="http://schemas.microsoft.com/office/drawing/2014/main" id="{53D8254C-2482-22D7-DBDE-D8A031F1854C}"/>
              </a:ext>
              <a:ext uri="{C183D7F6-B498-43B3-948B-1728B52AA6E4}">
                <adec:decorative xmlns:adec="http://schemas.microsoft.com/office/drawing/2017/decorative" val="1"/>
              </a:ext>
            </a:extLst>
          </p:cNvPr>
          <p:cNvCxnSpPr>
            <a:cxnSpLocks/>
            <a:endCxn id="45" idx="1"/>
          </p:cNvCxnSpPr>
          <p:nvPr/>
        </p:nvCxnSpPr>
        <p:spPr>
          <a:xfrm>
            <a:off x="2339287" y="3950163"/>
            <a:ext cx="1677928" cy="237508"/>
          </a:xfrm>
          <a:prstGeom prst="bentConnector3">
            <a:avLst>
              <a:gd name="adj1" fmla="val 50000"/>
            </a:avLst>
          </a:prstGeom>
          <a:noFill/>
          <a:ln w="6350" cap="flat" cmpd="sng">
            <a:solidFill>
              <a:schemeClr val="tx2"/>
            </a:solidFill>
            <a:prstDash val="solid"/>
            <a:miter lim="800000"/>
            <a:headEnd type="none" w="sm" len="sm"/>
            <a:tailEnd type="triangle" w="med" len="med"/>
          </a:ln>
        </p:spPr>
      </p:cxnSp>
      <p:cxnSp>
        <p:nvCxnSpPr>
          <p:cNvPr id="76" name="Google Shape;297;p2">
            <a:extLst>
              <a:ext uri="{FF2B5EF4-FFF2-40B4-BE49-F238E27FC236}">
                <a16:creationId xmlns:a16="http://schemas.microsoft.com/office/drawing/2014/main" id="{F034EDCB-C769-B8B0-06A6-B05D5915ADE3}"/>
              </a:ext>
              <a:ext uri="{C183D7F6-B498-43B3-948B-1728B52AA6E4}">
                <adec:decorative xmlns:adec="http://schemas.microsoft.com/office/drawing/2017/decorative" val="1"/>
              </a:ext>
            </a:extLst>
          </p:cNvPr>
          <p:cNvCxnSpPr>
            <a:cxnSpLocks/>
            <a:stCxn id="17" idx="2"/>
            <a:endCxn id="26" idx="0"/>
          </p:cNvCxnSpPr>
          <p:nvPr/>
        </p:nvCxnSpPr>
        <p:spPr>
          <a:xfrm>
            <a:off x="7899791" y="2484733"/>
            <a:ext cx="0" cy="181689"/>
          </a:xfrm>
          <a:prstGeom prst="straightConnector1">
            <a:avLst/>
          </a:prstGeom>
          <a:noFill/>
          <a:ln w="6350" cap="flat" cmpd="sng">
            <a:solidFill>
              <a:schemeClr val="tx2"/>
            </a:solidFill>
            <a:prstDash val="solid"/>
            <a:miter lim="800000"/>
            <a:headEnd type="none" w="sm" len="sm"/>
            <a:tailEnd type="triangle" w="med" len="med"/>
          </a:ln>
        </p:spPr>
      </p:cxnSp>
      <p:sp>
        <p:nvSpPr>
          <p:cNvPr id="77" name="TextBox 76">
            <a:extLst>
              <a:ext uri="{FF2B5EF4-FFF2-40B4-BE49-F238E27FC236}">
                <a16:creationId xmlns:a16="http://schemas.microsoft.com/office/drawing/2014/main" id="{BF765302-5586-747D-8390-F7007EB4A9F4}"/>
              </a:ext>
            </a:extLst>
          </p:cNvPr>
          <p:cNvSpPr txBox="1"/>
          <p:nvPr/>
        </p:nvSpPr>
        <p:spPr>
          <a:xfrm>
            <a:off x="8016369" y="4530614"/>
            <a:ext cx="1653851" cy="707886"/>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dirty="0">
                <a:solidFill>
                  <a:srgbClr val="FF0000"/>
                </a:solidFill>
              </a:rPr>
              <a:t>Implementation note: </a:t>
            </a:r>
            <a:r>
              <a:rPr lang="en-US" sz="800" dirty="0">
                <a:solidFill>
                  <a:srgbClr val="FF0000"/>
                </a:solidFill>
              </a:rPr>
              <a:t>You may wish to specify if these plans need to be professional plans or if more basic plans are permitted at this stage</a:t>
            </a:r>
          </a:p>
        </p:txBody>
      </p:sp>
      <p:sp>
        <p:nvSpPr>
          <p:cNvPr id="78" name="TextBox 77">
            <a:extLst>
              <a:ext uri="{FF2B5EF4-FFF2-40B4-BE49-F238E27FC236}">
                <a16:creationId xmlns:a16="http://schemas.microsoft.com/office/drawing/2014/main" id="{7F4E7E4D-1538-3951-9AF6-CAD1D2A9FFB0}"/>
              </a:ext>
            </a:extLst>
          </p:cNvPr>
          <p:cNvSpPr txBox="1"/>
          <p:nvPr/>
        </p:nvSpPr>
        <p:spPr>
          <a:xfrm>
            <a:off x="6874105" y="311944"/>
            <a:ext cx="3526351" cy="830997"/>
          </a:xfrm>
          <a:prstGeom prst="rect">
            <a:avLst/>
          </a:prstGeom>
          <a:solidFill>
            <a:schemeClr val="bg1"/>
          </a:solid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dirty="0">
                <a:solidFill>
                  <a:srgbClr val="FF0000"/>
                </a:solidFill>
              </a:rPr>
              <a:t>Implementation note: </a:t>
            </a:r>
            <a:r>
              <a:rPr lang="en-US" sz="800" dirty="0">
                <a:solidFill>
                  <a:srgbClr val="FF0000"/>
                </a:solidFill>
              </a:rPr>
              <a:t>Delete these notes prior to publishing this solution.</a:t>
            </a:r>
            <a:endParaRPr lang="en-US" dirty="0"/>
          </a:p>
          <a:p>
            <a:r>
              <a:rPr lang="en-US" sz="800" dirty="0">
                <a:solidFill>
                  <a:srgbClr val="FF0000"/>
                </a:solidFill>
              </a:rPr>
              <a:t>This decision tree assists applicants in self-determining the benefit of a pre-application meeting for their proposal. You may include this decision tree on your website, and also have it handy for the planning team to run through with applicants in the pre-application stage. Options can be amended as needed to suit your council.</a:t>
            </a:r>
          </a:p>
        </p:txBody>
      </p:sp>
    </p:spTree>
    <p:extLst>
      <p:ext uri="{BB962C8B-B14F-4D97-AF65-F5344CB8AC3E}">
        <p14:creationId xmlns:p14="http://schemas.microsoft.com/office/powerpoint/2010/main" val="179364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TP-PowerPoint template-16x9" id="{18163C47-1B65-474E-974E-74A95E93F1B1}" vid="{9FF80AE9-506D-EA46-866F-F25F8DF2F9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89BC86-FC9C-4CE9-A398-19BAC2AA57FD}">
  <ds:schemaRefs>
    <ds:schemaRef ds:uri="http://schemas.microsoft.com/sharepoint/v3/contenttype/forms"/>
  </ds:schemaRefs>
</ds:datastoreItem>
</file>

<file path=customXml/itemProps2.xml><?xml version="1.0" encoding="utf-8"?>
<ds:datastoreItem xmlns:ds="http://schemas.openxmlformats.org/officeDocument/2006/customXml" ds:itemID="{C2773144-FE6D-411B-82CE-C3CE9AD33A8C}">
  <ds:schemaRefs>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3dcb25b9-5e2a-4cbc-a1d6-f53ee7652e42"/>
    <ds:schemaRef ds:uri="http://purl.org/dc/dcmitype/"/>
    <ds:schemaRef ds:uri="http://schemas.openxmlformats.org/package/2006/metadata/core-properties"/>
    <ds:schemaRef ds:uri="http://purl.org/dc/terms/"/>
    <ds:schemaRef ds:uri="http://purl.org/dc/elements/1.1/"/>
  </ds:schemaRefs>
</ds:datastoreItem>
</file>

<file path=customXml/itemProps3.xml><?xml version="1.0" encoding="utf-8"?>
<ds:datastoreItem xmlns:ds="http://schemas.openxmlformats.org/officeDocument/2006/customXml" ds:itemID="{5451805B-790C-4A82-AE33-0B5BDD38EA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TP_16x9_Template</Template>
  <TotalTime>31</TotalTime>
  <Words>264</Words>
  <Application>Microsoft Office PowerPoint</Application>
  <PresentationFormat>Widescreen</PresentationFormat>
  <Paragraphs>38</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Roboto</vt:lpstr>
      <vt:lpstr>Department of Transport and Planning</vt:lpstr>
      <vt:lpstr>think-cell Slide</vt:lpstr>
      <vt:lpstr>Apply pre-app meeting criteria decision tr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y pre-app meeting criteria decision tree</dc:title>
  <dc:creator>Chelci Cox (DEECA)</dc:creator>
  <cp:lastModifiedBy>Alannah Tran</cp:lastModifiedBy>
  <cp:revision>2</cp:revision>
  <dcterms:created xsi:type="dcterms:W3CDTF">2023-06-08T00:46:58Z</dcterms:created>
  <dcterms:modified xsi:type="dcterms:W3CDTF">2023-07-31T00:5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ediaServiceImageTags">
    <vt:lpwstr/>
  </property>
</Properties>
</file>